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86" r:id="rId2"/>
    <p:sldMasterId id="2147483700" r:id="rId3"/>
    <p:sldMasterId id="2147483730" r:id="rId4"/>
  </p:sldMasterIdLst>
  <p:notesMasterIdLst>
    <p:notesMasterId r:id="rId50"/>
  </p:notesMasterIdLst>
  <p:sldIdLst>
    <p:sldId id="257" r:id="rId5"/>
    <p:sldId id="655" r:id="rId6"/>
    <p:sldId id="510" r:id="rId7"/>
    <p:sldId id="901" r:id="rId8"/>
    <p:sldId id="1710" r:id="rId9"/>
    <p:sldId id="1711" r:id="rId10"/>
    <p:sldId id="1712" r:id="rId11"/>
    <p:sldId id="319" r:id="rId12"/>
    <p:sldId id="273" r:id="rId13"/>
    <p:sldId id="1713" r:id="rId14"/>
    <p:sldId id="308" r:id="rId15"/>
    <p:sldId id="309" r:id="rId16"/>
    <p:sldId id="1714" r:id="rId17"/>
    <p:sldId id="1715" r:id="rId18"/>
    <p:sldId id="1716" r:id="rId19"/>
    <p:sldId id="1717" r:id="rId20"/>
    <p:sldId id="310" r:id="rId21"/>
    <p:sldId id="311" r:id="rId22"/>
    <p:sldId id="1718" r:id="rId23"/>
    <p:sldId id="305" r:id="rId24"/>
    <p:sldId id="1719" r:id="rId25"/>
    <p:sldId id="900" r:id="rId26"/>
    <p:sldId id="386" r:id="rId27"/>
    <p:sldId id="361" r:id="rId28"/>
    <p:sldId id="426" r:id="rId29"/>
    <p:sldId id="325" r:id="rId30"/>
    <p:sldId id="328" r:id="rId31"/>
    <p:sldId id="385" r:id="rId32"/>
    <p:sldId id="1720" r:id="rId33"/>
    <p:sldId id="382" r:id="rId34"/>
    <p:sldId id="1721" r:id="rId35"/>
    <p:sldId id="880" r:id="rId36"/>
    <p:sldId id="882" r:id="rId37"/>
    <p:sldId id="883" r:id="rId38"/>
    <p:sldId id="884" r:id="rId39"/>
    <p:sldId id="886" r:id="rId40"/>
    <p:sldId id="896" r:id="rId41"/>
    <p:sldId id="887" r:id="rId42"/>
    <p:sldId id="1725" r:id="rId43"/>
    <p:sldId id="384" r:id="rId44"/>
    <p:sldId id="1724" r:id="rId45"/>
    <p:sldId id="389" r:id="rId46"/>
    <p:sldId id="432" r:id="rId47"/>
    <p:sldId id="259" r:id="rId48"/>
    <p:sldId id="1729" r:id="rId49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9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7" autoAdjust="0"/>
    <p:restoredTop sz="94660"/>
  </p:normalViewPr>
  <p:slideViewPr>
    <p:cSldViewPr snapToGrid="0">
      <p:cViewPr>
        <p:scale>
          <a:sx n="74" d="100"/>
          <a:sy n="74" d="100"/>
        </p:scale>
        <p:origin x="2700" y="9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8" Type="http://schemas.openxmlformats.org/officeDocument/2006/relationships/slide" Target="slides/slide4.xml"/><Relationship Id="rId51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Documents%20and%20Settings\fsoberon\My%20Documents\Cornell%20RESEARCH\Calves\TDM%20analisis%20of%20T&amp;R\New%20data%2010-25-10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C:\Documents%20and%20Settings\jnewbold.VIERSPRONG\My%20Documents\Provimi%20dairy%20model\The%20Model\mammary\MilkFAprofile%20PDM%20vs%20literature.xls" TargetMode="External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0275054016038049"/>
          <c:y val="5.1955420466058763E-2"/>
          <c:w val="0.74634706573280551"/>
          <c:h val="0.69398176291793312"/>
        </c:manualLayout>
      </c:layout>
      <c:scatterChart>
        <c:scatterStyle val="lineMarker"/>
        <c:varyColors val="0"/>
        <c:ser>
          <c:idx val="0"/>
          <c:order val="0"/>
          <c:spPr>
            <a:ln w="28575">
              <a:noFill/>
            </a:ln>
          </c:spPr>
          <c:trendline>
            <c:spPr>
              <a:ln w="25400">
                <a:solidFill>
                  <a:schemeClr val="bg1"/>
                </a:solidFill>
              </a:ln>
            </c:spPr>
            <c:trendlineType val="linear"/>
            <c:dispRSqr val="1"/>
            <c:dispEq val="1"/>
            <c:trendlineLbl>
              <c:layout>
                <c:manualLayout>
                  <c:x val="8.9804201844469841E-2"/>
                  <c:y val="0.35305799287604761"/>
                </c:manualLayout>
              </c:layout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/>
                      <a:t>y = 8,082.4x + 6,255.6
R² = 0.2713</a:t>
                    </a:r>
                  </a:p>
                </c:rich>
              </c:tx>
              <c:numFmt formatCode="General" sourceLinked="0"/>
            </c:trendlineLbl>
          </c:trendline>
          <c:xVal>
            <c:numRef>
              <c:f>'Data for SAS farm 2 all data'!$O$2:$O$316</c:f>
              <c:numCache>
                <c:formatCode>General</c:formatCode>
                <c:ptCount val="315"/>
                <c:pt idx="0">
                  <c:v>0.87338368580060433</c:v>
                </c:pt>
                <c:pt idx="1">
                  <c:v>0.80910000000000004</c:v>
                </c:pt>
                <c:pt idx="2">
                  <c:v>0.80654891304347831</c:v>
                </c:pt>
                <c:pt idx="3">
                  <c:v>0.76904069767441863</c:v>
                </c:pt>
                <c:pt idx="4">
                  <c:v>0.83875000000000011</c:v>
                </c:pt>
                <c:pt idx="5">
                  <c:v>0.83005797101449275</c:v>
                </c:pt>
                <c:pt idx="6">
                  <c:v>0.86337278106508886</c:v>
                </c:pt>
                <c:pt idx="7">
                  <c:v>0.78616352201257866</c:v>
                </c:pt>
                <c:pt idx="8">
                  <c:v>0.84064516129032263</c:v>
                </c:pt>
                <c:pt idx="9">
                  <c:v>0.79840909090909085</c:v>
                </c:pt>
                <c:pt idx="10">
                  <c:v>0.84585507246376812</c:v>
                </c:pt>
                <c:pt idx="11">
                  <c:v>0.91214765100671158</c:v>
                </c:pt>
                <c:pt idx="12">
                  <c:v>0.86877675840978585</c:v>
                </c:pt>
                <c:pt idx="13">
                  <c:v>0.83978658536585382</c:v>
                </c:pt>
                <c:pt idx="14">
                  <c:v>0.7675748502994012</c:v>
                </c:pt>
                <c:pt idx="15">
                  <c:v>0.73601744186046514</c:v>
                </c:pt>
                <c:pt idx="16">
                  <c:v>0.81549999999999989</c:v>
                </c:pt>
                <c:pt idx="17">
                  <c:v>0.92437308868501544</c:v>
                </c:pt>
                <c:pt idx="18">
                  <c:v>0.83242603550295857</c:v>
                </c:pt>
                <c:pt idx="19">
                  <c:v>0.88806358381502881</c:v>
                </c:pt>
                <c:pt idx="20">
                  <c:v>0.88966463414634145</c:v>
                </c:pt>
                <c:pt idx="21">
                  <c:v>0.8559793814432991</c:v>
                </c:pt>
                <c:pt idx="22">
                  <c:v>0.86455331412103742</c:v>
                </c:pt>
                <c:pt idx="23">
                  <c:v>0.75052325581395352</c:v>
                </c:pt>
                <c:pt idx="24">
                  <c:v>0.91481132075471683</c:v>
                </c:pt>
                <c:pt idx="25">
                  <c:v>0.71231707317073178</c:v>
                </c:pt>
                <c:pt idx="26">
                  <c:v>0.79349710982658961</c:v>
                </c:pt>
                <c:pt idx="27">
                  <c:v>0.88921875000000006</c:v>
                </c:pt>
                <c:pt idx="28">
                  <c:v>0.71810650887573968</c:v>
                </c:pt>
                <c:pt idx="29">
                  <c:v>0.75896024464831802</c:v>
                </c:pt>
                <c:pt idx="30">
                  <c:v>0.82077142857142849</c:v>
                </c:pt>
                <c:pt idx="31">
                  <c:v>0.85393063583815021</c:v>
                </c:pt>
                <c:pt idx="32">
                  <c:v>0.86047169811320756</c:v>
                </c:pt>
                <c:pt idx="33">
                  <c:v>0.84198795180722885</c:v>
                </c:pt>
                <c:pt idx="34">
                  <c:v>0.81334269662921355</c:v>
                </c:pt>
                <c:pt idx="35">
                  <c:v>0.84766891891891905</c:v>
                </c:pt>
                <c:pt idx="36">
                  <c:v>0.89993265993265981</c:v>
                </c:pt>
                <c:pt idx="37">
                  <c:v>0.84055384615384598</c:v>
                </c:pt>
                <c:pt idx="38">
                  <c:v>0.74918566775244311</c:v>
                </c:pt>
                <c:pt idx="39">
                  <c:v>0.84687150837988834</c:v>
                </c:pt>
                <c:pt idx="40">
                  <c:v>0.89451923076923068</c:v>
                </c:pt>
                <c:pt idx="41">
                  <c:v>0.77231003039513679</c:v>
                </c:pt>
                <c:pt idx="42">
                  <c:v>0.87350724637681143</c:v>
                </c:pt>
                <c:pt idx="43">
                  <c:v>0.88495575221238942</c:v>
                </c:pt>
                <c:pt idx="44">
                  <c:v>0.81580924855491344</c:v>
                </c:pt>
                <c:pt idx="45">
                  <c:v>0.93450310559006222</c:v>
                </c:pt>
                <c:pt idx="46">
                  <c:v>0.79720000000000013</c:v>
                </c:pt>
                <c:pt idx="47">
                  <c:v>0.86455331412103742</c:v>
                </c:pt>
                <c:pt idx="48">
                  <c:v>0.87188612099644125</c:v>
                </c:pt>
                <c:pt idx="49">
                  <c:v>0.77046920821114373</c:v>
                </c:pt>
                <c:pt idx="50">
                  <c:v>0.81054200542005428</c:v>
                </c:pt>
                <c:pt idx="51">
                  <c:v>0.93352348993288592</c:v>
                </c:pt>
                <c:pt idx="52">
                  <c:v>0.84166172106824921</c:v>
                </c:pt>
                <c:pt idx="53">
                  <c:v>0.88595808383233543</c:v>
                </c:pt>
                <c:pt idx="54">
                  <c:v>0.78752906976744197</c:v>
                </c:pt>
                <c:pt idx="55">
                  <c:v>0.75535294117647056</c:v>
                </c:pt>
                <c:pt idx="56">
                  <c:v>0.90182692307692314</c:v>
                </c:pt>
                <c:pt idx="57">
                  <c:v>0.96669014084507032</c:v>
                </c:pt>
                <c:pt idx="58">
                  <c:v>0.8843504531722054</c:v>
                </c:pt>
                <c:pt idx="59">
                  <c:v>0.93552325581395346</c:v>
                </c:pt>
                <c:pt idx="60">
                  <c:v>0.93690476190476202</c:v>
                </c:pt>
                <c:pt idx="61">
                  <c:v>0.78464285714285709</c:v>
                </c:pt>
                <c:pt idx="62">
                  <c:v>0.92356687898089174</c:v>
                </c:pt>
                <c:pt idx="63">
                  <c:v>0.877</c:v>
                </c:pt>
                <c:pt idx="64">
                  <c:v>0.82155405405405413</c:v>
                </c:pt>
                <c:pt idx="65">
                  <c:v>0.87694533762057869</c:v>
                </c:pt>
                <c:pt idx="66">
                  <c:v>0.87393188854489157</c:v>
                </c:pt>
                <c:pt idx="67">
                  <c:v>0.9144807121661721</c:v>
                </c:pt>
                <c:pt idx="68">
                  <c:v>0.80592198581560293</c:v>
                </c:pt>
                <c:pt idx="69">
                  <c:v>0.86257425742574245</c:v>
                </c:pt>
                <c:pt idx="70">
                  <c:v>0.93029154518950452</c:v>
                </c:pt>
                <c:pt idx="71">
                  <c:v>0.87375000000000003</c:v>
                </c:pt>
                <c:pt idx="72">
                  <c:v>0.84805653710247364</c:v>
                </c:pt>
                <c:pt idx="73">
                  <c:v>0.95145962732919254</c:v>
                </c:pt>
                <c:pt idx="74">
                  <c:v>0.94205438066465252</c:v>
                </c:pt>
                <c:pt idx="75">
                  <c:v>0.93959731543624159</c:v>
                </c:pt>
                <c:pt idx="76">
                  <c:v>0.93568181818181817</c:v>
                </c:pt>
                <c:pt idx="77">
                  <c:v>0.86219354838709683</c:v>
                </c:pt>
                <c:pt idx="78">
                  <c:v>0.69059347181008912</c:v>
                </c:pt>
                <c:pt idx="79">
                  <c:v>0.73097297297297292</c:v>
                </c:pt>
                <c:pt idx="80">
                  <c:v>0.77901734104046227</c:v>
                </c:pt>
                <c:pt idx="81">
                  <c:v>0.93174454828660447</c:v>
                </c:pt>
                <c:pt idx="82">
                  <c:v>0.89827380952380953</c:v>
                </c:pt>
                <c:pt idx="83">
                  <c:v>0.89257425742574259</c:v>
                </c:pt>
                <c:pt idx="84">
                  <c:v>0.83221574344023319</c:v>
                </c:pt>
                <c:pt idx="85">
                  <c:v>0.86912087912087921</c:v>
                </c:pt>
                <c:pt idx="86">
                  <c:v>0.84659374999999992</c:v>
                </c:pt>
                <c:pt idx="87">
                  <c:v>0.73616714697406338</c:v>
                </c:pt>
                <c:pt idx="88">
                  <c:v>0.8664687499999999</c:v>
                </c:pt>
                <c:pt idx="89">
                  <c:v>0.8240184049079754</c:v>
                </c:pt>
                <c:pt idx="90">
                  <c:v>0.79296529968454255</c:v>
                </c:pt>
                <c:pt idx="91">
                  <c:v>0.8827246376811595</c:v>
                </c:pt>
                <c:pt idx="92">
                  <c:v>0.89317784256559773</c:v>
                </c:pt>
                <c:pt idx="93">
                  <c:v>0.93053459119496851</c:v>
                </c:pt>
                <c:pt idx="94">
                  <c:v>0.90628834355828214</c:v>
                </c:pt>
                <c:pt idx="95">
                  <c:v>0.94489726027397269</c:v>
                </c:pt>
                <c:pt idx="96">
                  <c:v>0.93572413793103448</c:v>
                </c:pt>
                <c:pt idx="97">
                  <c:v>0.92930158730158741</c:v>
                </c:pt>
                <c:pt idx="98">
                  <c:v>0.86097493036211692</c:v>
                </c:pt>
                <c:pt idx="99">
                  <c:v>0.88925233644859825</c:v>
                </c:pt>
                <c:pt idx="100">
                  <c:v>0.85609329446064131</c:v>
                </c:pt>
                <c:pt idx="101">
                  <c:v>0.8880289855072464</c:v>
                </c:pt>
                <c:pt idx="102">
                  <c:v>0.87811145510835908</c:v>
                </c:pt>
                <c:pt idx="103">
                  <c:v>0.85313846153846162</c:v>
                </c:pt>
                <c:pt idx="104">
                  <c:v>0.93403225806451595</c:v>
                </c:pt>
                <c:pt idx="105">
                  <c:v>0.9435973597359737</c:v>
                </c:pt>
                <c:pt idx="106">
                  <c:v>0.8510979228486647</c:v>
                </c:pt>
                <c:pt idx="107">
                  <c:v>0.72312834224598932</c:v>
                </c:pt>
                <c:pt idx="108">
                  <c:v>0.90909090909090906</c:v>
                </c:pt>
                <c:pt idx="109">
                  <c:v>0.87550769230769221</c:v>
                </c:pt>
                <c:pt idx="110">
                  <c:v>0.83936986301369865</c:v>
                </c:pt>
                <c:pt idx="111">
                  <c:v>0.81924418604651161</c:v>
                </c:pt>
                <c:pt idx="112">
                  <c:v>0.9430841121495328</c:v>
                </c:pt>
                <c:pt idx="113">
                  <c:v>0.95693498452012371</c:v>
                </c:pt>
                <c:pt idx="114">
                  <c:v>0.8206194690265487</c:v>
                </c:pt>
                <c:pt idx="115">
                  <c:v>0.91065743944636679</c:v>
                </c:pt>
                <c:pt idx="116">
                  <c:v>0.74759312320916893</c:v>
                </c:pt>
                <c:pt idx="117">
                  <c:v>0.79612426035502948</c:v>
                </c:pt>
                <c:pt idx="118">
                  <c:v>0.94253676470588232</c:v>
                </c:pt>
                <c:pt idx="119">
                  <c:v>0.8509146341463415</c:v>
                </c:pt>
                <c:pt idx="120">
                  <c:v>0.88660777385159006</c:v>
                </c:pt>
                <c:pt idx="121">
                  <c:v>0.82707100591715976</c:v>
                </c:pt>
                <c:pt idx="122">
                  <c:v>0.89337175792507206</c:v>
                </c:pt>
                <c:pt idx="123">
                  <c:v>0.91488817891373808</c:v>
                </c:pt>
                <c:pt idx="124">
                  <c:v>0.83504885993485345</c:v>
                </c:pt>
                <c:pt idx="125">
                  <c:v>0.83132743362831851</c:v>
                </c:pt>
                <c:pt idx="126">
                  <c:v>0.94512195121951215</c:v>
                </c:pt>
                <c:pt idx="127">
                  <c:v>0.87987138263665587</c:v>
                </c:pt>
                <c:pt idx="128">
                  <c:v>0.88205357142857144</c:v>
                </c:pt>
                <c:pt idx="129">
                  <c:v>0.90526760563380282</c:v>
                </c:pt>
                <c:pt idx="130">
                  <c:v>0.81654867256637165</c:v>
                </c:pt>
                <c:pt idx="131">
                  <c:v>0.95320588235294124</c:v>
                </c:pt>
                <c:pt idx="132">
                  <c:v>0.93328402366863905</c:v>
                </c:pt>
                <c:pt idx="133">
                  <c:v>0.83897142857142848</c:v>
                </c:pt>
                <c:pt idx="134">
                  <c:v>0.89858381502890183</c:v>
                </c:pt>
                <c:pt idx="135">
                  <c:v>0.80146417445482865</c:v>
                </c:pt>
                <c:pt idx="136">
                  <c:v>0.98816770186335401</c:v>
                </c:pt>
                <c:pt idx="137">
                  <c:v>0.95066246056782344</c:v>
                </c:pt>
                <c:pt idx="138">
                  <c:v>0.88202380952380954</c:v>
                </c:pt>
                <c:pt idx="139">
                  <c:v>0.87147482014388489</c:v>
                </c:pt>
                <c:pt idx="140">
                  <c:v>0.80929878048780479</c:v>
                </c:pt>
                <c:pt idx="141">
                  <c:v>0.89986486486486494</c:v>
                </c:pt>
                <c:pt idx="142">
                  <c:v>0.89252279635258358</c:v>
                </c:pt>
                <c:pt idx="143">
                  <c:v>0.86693820224719098</c:v>
                </c:pt>
                <c:pt idx="144">
                  <c:v>0.96454237288135602</c:v>
                </c:pt>
                <c:pt idx="145">
                  <c:v>0.8928571428571429</c:v>
                </c:pt>
                <c:pt idx="146">
                  <c:v>0.89594855305466248</c:v>
                </c:pt>
                <c:pt idx="147">
                  <c:v>0.98393292682926836</c:v>
                </c:pt>
                <c:pt idx="148">
                  <c:v>0.85594155844155839</c:v>
                </c:pt>
                <c:pt idx="149">
                  <c:v>0.94345930232558139</c:v>
                </c:pt>
                <c:pt idx="150">
                  <c:v>0.99706451612903235</c:v>
                </c:pt>
                <c:pt idx="151">
                  <c:v>0.90628834355828236</c:v>
                </c:pt>
                <c:pt idx="152">
                  <c:v>0.87412307692307689</c:v>
                </c:pt>
                <c:pt idx="153">
                  <c:v>0.99197058823529405</c:v>
                </c:pt>
                <c:pt idx="154">
                  <c:v>0.86696485623003194</c:v>
                </c:pt>
                <c:pt idx="155">
                  <c:v>0.88194029850746281</c:v>
                </c:pt>
                <c:pt idx="156">
                  <c:v>0.87285714285714289</c:v>
                </c:pt>
                <c:pt idx="157">
                  <c:v>0.97633440514469449</c:v>
                </c:pt>
                <c:pt idx="158">
                  <c:v>0.95633116883116887</c:v>
                </c:pt>
                <c:pt idx="159">
                  <c:v>0.89735483870967747</c:v>
                </c:pt>
                <c:pt idx="160">
                  <c:v>0.86863874345549741</c:v>
                </c:pt>
                <c:pt idx="161">
                  <c:v>0.82517906336088165</c:v>
                </c:pt>
                <c:pt idx="162">
                  <c:v>0.86680232558139536</c:v>
                </c:pt>
                <c:pt idx="163">
                  <c:v>0.90648571428571423</c:v>
                </c:pt>
                <c:pt idx="164">
                  <c:v>0.9838815789473685</c:v>
                </c:pt>
                <c:pt idx="165">
                  <c:v>0.96457627118644074</c:v>
                </c:pt>
                <c:pt idx="166">
                  <c:v>0.92990196078431375</c:v>
                </c:pt>
                <c:pt idx="167">
                  <c:v>0.74959064327485381</c:v>
                </c:pt>
                <c:pt idx="168">
                  <c:v>0.82331536388140159</c:v>
                </c:pt>
                <c:pt idx="169">
                  <c:v>0.85226190476190478</c:v>
                </c:pt>
                <c:pt idx="170">
                  <c:v>0.92073717948717959</c:v>
                </c:pt>
                <c:pt idx="171">
                  <c:v>0.92446153846153845</c:v>
                </c:pt>
                <c:pt idx="172">
                  <c:v>0.94652941176470606</c:v>
                </c:pt>
                <c:pt idx="173">
                  <c:v>0.89912225705329152</c:v>
                </c:pt>
                <c:pt idx="174">
                  <c:v>0.86212765957446802</c:v>
                </c:pt>
                <c:pt idx="175">
                  <c:v>1.0227272727272727</c:v>
                </c:pt>
                <c:pt idx="176">
                  <c:v>0.99312121212121218</c:v>
                </c:pt>
                <c:pt idx="177">
                  <c:v>0.93704615384615386</c:v>
                </c:pt>
                <c:pt idx="178">
                  <c:v>0.94440129449838184</c:v>
                </c:pt>
                <c:pt idx="179">
                  <c:v>0.84003164556962018</c:v>
                </c:pt>
                <c:pt idx="180">
                  <c:v>0.88791780821917821</c:v>
                </c:pt>
                <c:pt idx="181">
                  <c:v>0.92258160237388731</c:v>
                </c:pt>
                <c:pt idx="182">
                  <c:v>0.91534482758620705</c:v>
                </c:pt>
                <c:pt idx="183">
                  <c:v>0.83403669724770646</c:v>
                </c:pt>
                <c:pt idx="184">
                  <c:v>0.81310850439882698</c:v>
                </c:pt>
                <c:pt idx="185">
                  <c:v>0.89382550335570476</c:v>
                </c:pt>
                <c:pt idx="186">
                  <c:v>0.88925233644859814</c:v>
                </c:pt>
                <c:pt idx="187">
                  <c:v>0.80777070063694267</c:v>
                </c:pt>
                <c:pt idx="188">
                  <c:v>0.87295454545454554</c:v>
                </c:pt>
                <c:pt idx="189">
                  <c:v>0.88355029585798817</c:v>
                </c:pt>
                <c:pt idx="190">
                  <c:v>0.89090666666666662</c:v>
                </c:pt>
                <c:pt idx="191">
                  <c:v>0.8615686274509804</c:v>
                </c:pt>
                <c:pt idx="192">
                  <c:v>0.86680232558139525</c:v>
                </c:pt>
                <c:pt idx="193">
                  <c:v>0.91190031152647966</c:v>
                </c:pt>
                <c:pt idx="194">
                  <c:v>0.9759411764705882</c:v>
                </c:pt>
                <c:pt idx="195">
                  <c:v>0.95625360230547551</c:v>
                </c:pt>
                <c:pt idx="196">
                  <c:v>0.95253676470588244</c:v>
                </c:pt>
                <c:pt idx="197">
                  <c:v>0.81904153354632592</c:v>
                </c:pt>
                <c:pt idx="198">
                  <c:v>0.82855855855855842</c:v>
                </c:pt>
                <c:pt idx="199">
                  <c:v>0.91985207100591726</c:v>
                </c:pt>
                <c:pt idx="200">
                  <c:v>0.99171717171717155</c:v>
                </c:pt>
                <c:pt idx="201">
                  <c:v>0.92417218543046364</c:v>
                </c:pt>
                <c:pt idx="202">
                  <c:v>0.8245348837209302</c:v>
                </c:pt>
                <c:pt idx="203">
                  <c:v>0.98108504398826979</c:v>
                </c:pt>
                <c:pt idx="204">
                  <c:v>0.93132867132867136</c:v>
                </c:pt>
                <c:pt idx="205">
                  <c:v>0.99239130434782608</c:v>
                </c:pt>
                <c:pt idx="206">
                  <c:v>0.98391304347826081</c:v>
                </c:pt>
                <c:pt idx="207">
                  <c:v>0.87987138263665587</c:v>
                </c:pt>
                <c:pt idx="208">
                  <c:v>0.9063880597014925</c:v>
                </c:pt>
                <c:pt idx="209">
                  <c:v>0.91196825396825387</c:v>
                </c:pt>
                <c:pt idx="210">
                  <c:v>0.85824281150159742</c:v>
                </c:pt>
                <c:pt idx="211">
                  <c:v>1.072857142857143</c:v>
                </c:pt>
                <c:pt idx="212">
                  <c:v>0.79256329113924051</c:v>
                </c:pt>
                <c:pt idx="213">
                  <c:v>0.86415697674418601</c:v>
                </c:pt>
                <c:pt idx="214">
                  <c:v>0.99594029850746268</c:v>
                </c:pt>
                <c:pt idx="215">
                  <c:v>0.91176470588235292</c:v>
                </c:pt>
                <c:pt idx="216">
                  <c:v>0.86323442136498518</c:v>
                </c:pt>
                <c:pt idx="217">
                  <c:v>0.91485714285714292</c:v>
                </c:pt>
                <c:pt idx="218">
                  <c:v>0.85526479750778828</c:v>
                </c:pt>
                <c:pt idx="219">
                  <c:v>0.98889880952380949</c:v>
                </c:pt>
                <c:pt idx="220">
                  <c:v>0.91907738095238101</c:v>
                </c:pt>
                <c:pt idx="221">
                  <c:v>0.86178082191780825</c:v>
                </c:pt>
                <c:pt idx="222">
                  <c:v>0.85175953079178879</c:v>
                </c:pt>
                <c:pt idx="223">
                  <c:v>0.88969512195121947</c:v>
                </c:pt>
                <c:pt idx="224">
                  <c:v>0.85382978723404268</c:v>
                </c:pt>
                <c:pt idx="225">
                  <c:v>0.9090967741935484</c:v>
                </c:pt>
                <c:pt idx="226">
                  <c:v>0.85984520123839014</c:v>
                </c:pt>
                <c:pt idx="227">
                  <c:v>0.84943750000000018</c:v>
                </c:pt>
                <c:pt idx="228">
                  <c:v>0.91789644012944982</c:v>
                </c:pt>
                <c:pt idx="229">
                  <c:v>0.95127147766323017</c:v>
                </c:pt>
                <c:pt idx="230">
                  <c:v>0.90573529411764697</c:v>
                </c:pt>
                <c:pt idx="231">
                  <c:v>0.80182890855457223</c:v>
                </c:pt>
                <c:pt idx="232">
                  <c:v>0.82868167202572351</c:v>
                </c:pt>
                <c:pt idx="233">
                  <c:v>0.94562500000000005</c:v>
                </c:pt>
                <c:pt idx="234">
                  <c:v>0.880599455040872</c:v>
                </c:pt>
                <c:pt idx="235">
                  <c:v>0.98440828402366864</c:v>
                </c:pt>
                <c:pt idx="236">
                  <c:v>0.94874659400544958</c:v>
                </c:pt>
                <c:pt idx="237">
                  <c:v>0.84744479495268132</c:v>
                </c:pt>
                <c:pt idx="238">
                  <c:v>0.92501457725947533</c:v>
                </c:pt>
                <c:pt idx="239">
                  <c:v>0.9483861671469741</c:v>
                </c:pt>
                <c:pt idx="240">
                  <c:v>0.87705128205128202</c:v>
                </c:pt>
                <c:pt idx="241">
                  <c:v>1.0084565916398713</c:v>
                </c:pt>
                <c:pt idx="242">
                  <c:v>0.77501474926253688</c:v>
                </c:pt>
                <c:pt idx="243">
                  <c:v>0.81354354354354341</c:v>
                </c:pt>
                <c:pt idx="244">
                  <c:v>0.82802547770700641</c:v>
                </c:pt>
                <c:pt idx="245">
                  <c:v>1.0156677524429967</c:v>
                </c:pt>
                <c:pt idx="246">
                  <c:v>1.1208960573476703</c:v>
                </c:pt>
                <c:pt idx="247">
                  <c:v>0.85301948051948062</c:v>
                </c:pt>
                <c:pt idx="248">
                  <c:v>1.0060230547550431</c:v>
                </c:pt>
                <c:pt idx="249">
                  <c:v>1.0247604790419163</c:v>
                </c:pt>
                <c:pt idx="250">
                  <c:v>1.0520125786163523</c:v>
                </c:pt>
                <c:pt idx="251">
                  <c:v>0.91769716088328079</c:v>
                </c:pt>
                <c:pt idx="252">
                  <c:v>0.92795252225519298</c:v>
                </c:pt>
                <c:pt idx="253">
                  <c:v>1.0381952662721892</c:v>
                </c:pt>
                <c:pt idx="254">
                  <c:v>0.90103244837758112</c:v>
                </c:pt>
                <c:pt idx="255">
                  <c:v>0.91702623906705527</c:v>
                </c:pt>
                <c:pt idx="256">
                  <c:v>0.96804034582132559</c:v>
                </c:pt>
                <c:pt idx="257">
                  <c:v>0.93861356932153395</c:v>
                </c:pt>
                <c:pt idx="258">
                  <c:v>0.88074183976261133</c:v>
                </c:pt>
                <c:pt idx="259">
                  <c:v>0.90386167146974061</c:v>
                </c:pt>
                <c:pt idx="260">
                  <c:v>0.97517441860465126</c:v>
                </c:pt>
                <c:pt idx="261">
                  <c:v>1.0011042944785276</c:v>
                </c:pt>
                <c:pt idx="262">
                  <c:v>1.0171951219512194</c:v>
                </c:pt>
                <c:pt idx="263">
                  <c:v>0.88227138643067859</c:v>
                </c:pt>
                <c:pt idx="264">
                  <c:v>0.94154761904761908</c:v>
                </c:pt>
                <c:pt idx="265">
                  <c:v>0.94350157728706618</c:v>
                </c:pt>
                <c:pt idx="266">
                  <c:v>0.9521301775147929</c:v>
                </c:pt>
                <c:pt idx="267">
                  <c:v>0.94301694915254242</c:v>
                </c:pt>
                <c:pt idx="268">
                  <c:v>0.98461971830985906</c:v>
                </c:pt>
                <c:pt idx="269">
                  <c:v>1.0477966101694915</c:v>
                </c:pt>
                <c:pt idx="270">
                  <c:v>0.90908554572271394</c:v>
                </c:pt>
                <c:pt idx="271">
                  <c:v>0.9268715083798883</c:v>
                </c:pt>
                <c:pt idx="272">
                  <c:v>1.0223529411764707</c:v>
                </c:pt>
                <c:pt idx="273">
                  <c:v>0.92787610619469019</c:v>
                </c:pt>
                <c:pt idx="274">
                  <c:v>0.95668918918918922</c:v>
                </c:pt>
                <c:pt idx="275">
                  <c:v>0.94136094674556203</c:v>
                </c:pt>
                <c:pt idx="276">
                  <c:v>0.89225308641975321</c:v>
                </c:pt>
                <c:pt idx="277">
                  <c:v>0.84922155688622747</c:v>
                </c:pt>
                <c:pt idx="278">
                  <c:v>0.97302752293577988</c:v>
                </c:pt>
                <c:pt idx="279">
                  <c:v>1.039706744868035</c:v>
                </c:pt>
                <c:pt idx="280">
                  <c:v>0.88547400611620797</c:v>
                </c:pt>
                <c:pt idx="281">
                  <c:v>0.99160714285714291</c:v>
                </c:pt>
                <c:pt idx="282">
                  <c:v>0.9581587301587301</c:v>
                </c:pt>
                <c:pt idx="283">
                  <c:v>0.86499999999999999</c:v>
                </c:pt>
                <c:pt idx="284">
                  <c:v>0.97125356125356133</c:v>
                </c:pt>
                <c:pt idx="285">
                  <c:v>0.88990259740259736</c:v>
                </c:pt>
                <c:pt idx="286">
                  <c:v>0.94274691358024709</c:v>
                </c:pt>
                <c:pt idx="287">
                  <c:v>0.95521739130434768</c:v>
                </c:pt>
                <c:pt idx="288">
                  <c:v>0.91450746268656724</c:v>
                </c:pt>
                <c:pt idx="289">
                  <c:v>0.9189430894308942</c:v>
                </c:pt>
                <c:pt idx="290">
                  <c:v>0.89608280254777073</c:v>
                </c:pt>
                <c:pt idx="291">
                  <c:v>0.98851132686084142</c:v>
                </c:pt>
                <c:pt idx="292">
                  <c:v>0.85346268656716406</c:v>
                </c:pt>
                <c:pt idx="293">
                  <c:v>0.87027439024390263</c:v>
                </c:pt>
                <c:pt idx="294">
                  <c:v>0.93262135922330081</c:v>
                </c:pt>
                <c:pt idx="295">
                  <c:v>1.0408875739644969</c:v>
                </c:pt>
                <c:pt idx="296">
                  <c:v>0.81952238805970157</c:v>
                </c:pt>
                <c:pt idx="297">
                  <c:v>1.0756456456456456</c:v>
                </c:pt>
                <c:pt idx="298">
                  <c:v>1.011301775147929</c:v>
                </c:pt>
                <c:pt idx="299">
                  <c:v>0.91176470588235292</c:v>
                </c:pt>
                <c:pt idx="300">
                  <c:v>0.99385852090032145</c:v>
                </c:pt>
                <c:pt idx="301">
                  <c:v>0.99742038216560513</c:v>
                </c:pt>
                <c:pt idx="302">
                  <c:v>1.0131649831649832</c:v>
                </c:pt>
                <c:pt idx="303">
                  <c:v>0.86654970760233918</c:v>
                </c:pt>
                <c:pt idx="304">
                  <c:v>1.0156379821958457</c:v>
                </c:pt>
                <c:pt idx="305">
                  <c:v>0.88205357142857144</c:v>
                </c:pt>
                <c:pt idx="306">
                  <c:v>0.95958730158730154</c:v>
                </c:pt>
                <c:pt idx="307">
                  <c:v>0.98611111111111116</c:v>
                </c:pt>
                <c:pt idx="308">
                  <c:v>1.0530791788856306</c:v>
                </c:pt>
                <c:pt idx="309">
                  <c:v>0.94125401929260455</c:v>
                </c:pt>
                <c:pt idx="310">
                  <c:v>0.88427272727272732</c:v>
                </c:pt>
                <c:pt idx="311">
                  <c:v>1.141890243902439</c:v>
                </c:pt>
                <c:pt idx="312">
                  <c:v>0.83155882352941179</c:v>
                </c:pt>
                <c:pt idx="313">
                  <c:v>0.94126843657817116</c:v>
                </c:pt>
                <c:pt idx="314">
                  <c:v>1.0973668639053253</c:v>
                </c:pt>
              </c:numCache>
            </c:numRef>
          </c:xVal>
          <c:yVal>
            <c:numRef>
              <c:f>'Data for SAS farm 2 all data'!$AA$2:$AA$316</c:f>
              <c:numCache>
                <c:formatCode>General</c:formatCode>
                <c:ptCount val="315"/>
                <c:pt idx="0">
                  <c:v>11231.82</c:v>
                </c:pt>
                <c:pt idx="1">
                  <c:v>11318.18</c:v>
                </c:pt>
                <c:pt idx="2">
                  <c:v>11409.09</c:v>
                </c:pt>
                <c:pt idx="3">
                  <c:v>11486.36</c:v>
                </c:pt>
                <c:pt idx="4">
                  <c:v>11536.36</c:v>
                </c:pt>
                <c:pt idx="5">
                  <c:v>11559.09</c:v>
                </c:pt>
                <c:pt idx="6">
                  <c:v>11600</c:v>
                </c:pt>
                <c:pt idx="7">
                  <c:v>11636.36</c:v>
                </c:pt>
                <c:pt idx="8">
                  <c:v>11636.36</c:v>
                </c:pt>
                <c:pt idx="9">
                  <c:v>11645.45</c:v>
                </c:pt>
                <c:pt idx="10">
                  <c:v>11663.64</c:v>
                </c:pt>
                <c:pt idx="11">
                  <c:v>11681.82</c:v>
                </c:pt>
                <c:pt idx="12">
                  <c:v>11681.82</c:v>
                </c:pt>
                <c:pt idx="13">
                  <c:v>11727.27</c:v>
                </c:pt>
                <c:pt idx="14">
                  <c:v>11727.27</c:v>
                </c:pt>
                <c:pt idx="15">
                  <c:v>11736.36</c:v>
                </c:pt>
                <c:pt idx="16">
                  <c:v>11772.73</c:v>
                </c:pt>
                <c:pt idx="17">
                  <c:v>11772.73</c:v>
                </c:pt>
                <c:pt idx="18">
                  <c:v>11781.82</c:v>
                </c:pt>
                <c:pt idx="19">
                  <c:v>11804.55</c:v>
                </c:pt>
                <c:pt idx="20">
                  <c:v>11818.18</c:v>
                </c:pt>
                <c:pt idx="21">
                  <c:v>11818.18</c:v>
                </c:pt>
                <c:pt idx="22">
                  <c:v>11840.91</c:v>
                </c:pt>
                <c:pt idx="23">
                  <c:v>11840.91</c:v>
                </c:pt>
                <c:pt idx="24">
                  <c:v>11863.64</c:v>
                </c:pt>
                <c:pt idx="25">
                  <c:v>11909.09</c:v>
                </c:pt>
                <c:pt idx="26">
                  <c:v>11950</c:v>
                </c:pt>
                <c:pt idx="27">
                  <c:v>11954.55</c:v>
                </c:pt>
                <c:pt idx="28">
                  <c:v>11954.55</c:v>
                </c:pt>
                <c:pt idx="29">
                  <c:v>11954.55</c:v>
                </c:pt>
                <c:pt idx="30">
                  <c:v>11986.36</c:v>
                </c:pt>
                <c:pt idx="31">
                  <c:v>11995.45</c:v>
                </c:pt>
                <c:pt idx="32">
                  <c:v>12000</c:v>
                </c:pt>
                <c:pt idx="33">
                  <c:v>12000</c:v>
                </c:pt>
                <c:pt idx="34">
                  <c:v>12009.09</c:v>
                </c:pt>
                <c:pt idx="35">
                  <c:v>12027.27</c:v>
                </c:pt>
                <c:pt idx="36">
                  <c:v>12050</c:v>
                </c:pt>
                <c:pt idx="37">
                  <c:v>12090.91</c:v>
                </c:pt>
                <c:pt idx="38">
                  <c:v>12090.91</c:v>
                </c:pt>
                <c:pt idx="39">
                  <c:v>12100</c:v>
                </c:pt>
                <c:pt idx="40">
                  <c:v>12118.18</c:v>
                </c:pt>
                <c:pt idx="41">
                  <c:v>12118.18</c:v>
                </c:pt>
                <c:pt idx="42">
                  <c:v>12127.27</c:v>
                </c:pt>
                <c:pt idx="43">
                  <c:v>12136.36</c:v>
                </c:pt>
                <c:pt idx="44">
                  <c:v>12136.36</c:v>
                </c:pt>
                <c:pt idx="45">
                  <c:v>12140.91</c:v>
                </c:pt>
                <c:pt idx="46">
                  <c:v>12163.64</c:v>
                </c:pt>
                <c:pt idx="47">
                  <c:v>12181.82</c:v>
                </c:pt>
                <c:pt idx="48">
                  <c:v>12181.82</c:v>
                </c:pt>
                <c:pt idx="49">
                  <c:v>12181.82</c:v>
                </c:pt>
                <c:pt idx="50">
                  <c:v>12245.45</c:v>
                </c:pt>
                <c:pt idx="51">
                  <c:v>12268.18</c:v>
                </c:pt>
                <c:pt idx="52">
                  <c:v>12322.73</c:v>
                </c:pt>
                <c:pt idx="53">
                  <c:v>12340.91</c:v>
                </c:pt>
                <c:pt idx="54">
                  <c:v>12345.45</c:v>
                </c:pt>
                <c:pt idx="55">
                  <c:v>12350</c:v>
                </c:pt>
                <c:pt idx="56">
                  <c:v>12359.09</c:v>
                </c:pt>
                <c:pt idx="57">
                  <c:v>12359.09</c:v>
                </c:pt>
                <c:pt idx="58">
                  <c:v>12363.64</c:v>
                </c:pt>
                <c:pt idx="59">
                  <c:v>12363.64</c:v>
                </c:pt>
                <c:pt idx="60">
                  <c:v>12368.18</c:v>
                </c:pt>
                <c:pt idx="61">
                  <c:v>12390.91</c:v>
                </c:pt>
                <c:pt idx="62">
                  <c:v>12404.55</c:v>
                </c:pt>
                <c:pt idx="63">
                  <c:v>12409.09</c:v>
                </c:pt>
                <c:pt idx="64">
                  <c:v>12409.09</c:v>
                </c:pt>
                <c:pt idx="65">
                  <c:v>12409.09</c:v>
                </c:pt>
                <c:pt idx="66">
                  <c:v>12409.09</c:v>
                </c:pt>
                <c:pt idx="67">
                  <c:v>12454.55</c:v>
                </c:pt>
                <c:pt idx="68">
                  <c:v>12454.55</c:v>
                </c:pt>
                <c:pt idx="69">
                  <c:v>12477.27</c:v>
                </c:pt>
                <c:pt idx="70">
                  <c:v>12500</c:v>
                </c:pt>
                <c:pt idx="71">
                  <c:v>12500</c:v>
                </c:pt>
                <c:pt idx="72">
                  <c:v>12500</c:v>
                </c:pt>
                <c:pt idx="73">
                  <c:v>12504.55</c:v>
                </c:pt>
                <c:pt idx="74">
                  <c:v>12509.09</c:v>
                </c:pt>
                <c:pt idx="75">
                  <c:v>12518.18</c:v>
                </c:pt>
                <c:pt idx="76">
                  <c:v>12545.45</c:v>
                </c:pt>
                <c:pt idx="77">
                  <c:v>12545.45</c:v>
                </c:pt>
                <c:pt idx="78">
                  <c:v>12577.27</c:v>
                </c:pt>
                <c:pt idx="79">
                  <c:v>12586.36</c:v>
                </c:pt>
                <c:pt idx="80">
                  <c:v>12600</c:v>
                </c:pt>
                <c:pt idx="81">
                  <c:v>12631.82</c:v>
                </c:pt>
                <c:pt idx="82">
                  <c:v>12636.36</c:v>
                </c:pt>
                <c:pt idx="83">
                  <c:v>12636.36</c:v>
                </c:pt>
                <c:pt idx="84">
                  <c:v>12636.36</c:v>
                </c:pt>
                <c:pt idx="85">
                  <c:v>12640.91</c:v>
                </c:pt>
                <c:pt idx="86">
                  <c:v>12654.55</c:v>
                </c:pt>
                <c:pt idx="87">
                  <c:v>12681.82</c:v>
                </c:pt>
                <c:pt idx="88">
                  <c:v>12686.36</c:v>
                </c:pt>
                <c:pt idx="89">
                  <c:v>12709.09</c:v>
                </c:pt>
                <c:pt idx="90">
                  <c:v>12722.73</c:v>
                </c:pt>
                <c:pt idx="91">
                  <c:v>12727.27</c:v>
                </c:pt>
                <c:pt idx="92">
                  <c:v>12727.27</c:v>
                </c:pt>
                <c:pt idx="93">
                  <c:v>12759.09</c:v>
                </c:pt>
                <c:pt idx="94">
                  <c:v>12772.73</c:v>
                </c:pt>
                <c:pt idx="95">
                  <c:v>12772.73</c:v>
                </c:pt>
                <c:pt idx="96">
                  <c:v>12781.82</c:v>
                </c:pt>
                <c:pt idx="97">
                  <c:v>12800</c:v>
                </c:pt>
                <c:pt idx="98">
                  <c:v>12818.18</c:v>
                </c:pt>
                <c:pt idx="99">
                  <c:v>12850</c:v>
                </c:pt>
                <c:pt idx="100">
                  <c:v>12850</c:v>
                </c:pt>
                <c:pt idx="101">
                  <c:v>12854.55</c:v>
                </c:pt>
                <c:pt idx="102">
                  <c:v>12863.64</c:v>
                </c:pt>
                <c:pt idx="103">
                  <c:v>12863.64</c:v>
                </c:pt>
                <c:pt idx="104">
                  <c:v>12863.64</c:v>
                </c:pt>
                <c:pt idx="105">
                  <c:v>12868.18</c:v>
                </c:pt>
                <c:pt idx="106">
                  <c:v>12877.27</c:v>
                </c:pt>
                <c:pt idx="107">
                  <c:v>12886.36</c:v>
                </c:pt>
                <c:pt idx="108">
                  <c:v>12890.91</c:v>
                </c:pt>
                <c:pt idx="109">
                  <c:v>12900</c:v>
                </c:pt>
                <c:pt idx="110">
                  <c:v>12909.09</c:v>
                </c:pt>
                <c:pt idx="111">
                  <c:v>12909.09</c:v>
                </c:pt>
                <c:pt idx="112">
                  <c:v>12918.18</c:v>
                </c:pt>
                <c:pt idx="113">
                  <c:v>12927.27</c:v>
                </c:pt>
                <c:pt idx="114">
                  <c:v>12945.45</c:v>
                </c:pt>
                <c:pt idx="115">
                  <c:v>12954.55</c:v>
                </c:pt>
                <c:pt idx="116">
                  <c:v>12959.09</c:v>
                </c:pt>
                <c:pt idx="117">
                  <c:v>12977.27</c:v>
                </c:pt>
                <c:pt idx="118">
                  <c:v>12995.45</c:v>
                </c:pt>
                <c:pt idx="119">
                  <c:v>13000</c:v>
                </c:pt>
                <c:pt idx="120">
                  <c:v>13000</c:v>
                </c:pt>
                <c:pt idx="121">
                  <c:v>13000</c:v>
                </c:pt>
                <c:pt idx="122">
                  <c:v>13000</c:v>
                </c:pt>
                <c:pt idx="123">
                  <c:v>13009.09</c:v>
                </c:pt>
                <c:pt idx="124">
                  <c:v>13009.09</c:v>
                </c:pt>
                <c:pt idx="125">
                  <c:v>13027.27</c:v>
                </c:pt>
                <c:pt idx="126">
                  <c:v>13045.45</c:v>
                </c:pt>
                <c:pt idx="127">
                  <c:v>13100</c:v>
                </c:pt>
                <c:pt idx="128">
                  <c:v>13109.09</c:v>
                </c:pt>
                <c:pt idx="129">
                  <c:v>13136.36</c:v>
                </c:pt>
                <c:pt idx="130">
                  <c:v>13159.09</c:v>
                </c:pt>
                <c:pt idx="131">
                  <c:v>13172.73</c:v>
                </c:pt>
                <c:pt idx="132">
                  <c:v>13177.27</c:v>
                </c:pt>
                <c:pt idx="133">
                  <c:v>13227.27</c:v>
                </c:pt>
                <c:pt idx="134">
                  <c:v>13240.91</c:v>
                </c:pt>
                <c:pt idx="135">
                  <c:v>13263.64</c:v>
                </c:pt>
                <c:pt idx="136">
                  <c:v>13272.73</c:v>
                </c:pt>
                <c:pt idx="137">
                  <c:v>13272.73</c:v>
                </c:pt>
                <c:pt idx="138">
                  <c:v>13272.73</c:v>
                </c:pt>
                <c:pt idx="139">
                  <c:v>13272.73</c:v>
                </c:pt>
                <c:pt idx="140">
                  <c:v>13277.27</c:v>
                </c:pt>
                <c:pt idx="141">
                  <c:v>13300</c:v>
                </c:pt>
                <c:pt idx="142">
                  <c:v>13309.09</c:v>
                </c:pt>
                <c:pt idx="143">
                  <c:v>13313.64</c:v>
                </c:pt>
                <c:pt idx="144">
                  <c:v>13318.18</c:v>
                </c:pt>
                <c:pt idx="145">
                  <c:v>13318.18</c:v>
                </c:pt>
                <c:pt idx="146">
                  <c:v>13318.18</c:v>
                </c:pt>
                <c:pt idx="147">
                  <c:v>13327.27</c:v>
                </c:pt>
                <c:pt idx="148">
                  <c:v>13327.27</c:v>
                </c:pt>
                <c:pt idx="149">
                  <c:v>13340.91</c:v>
                </c:pt>
                <c:pt idx="150">
                  <c:v>13345.45</c:v>
                </c:pt>
                <c:pt idx="151">
                  <c:v>13345.45</c:v>
                </c:pt>
                <c:pt idx="152">
                  <c:v>13350</c:v>
                </c:pt>
                <c:pt idx="153">
                  <c:v>13363.64</c:v>
                </c:pt>
                <c:pt idx="154">
                  <c:v>13372.73</c:v>
                </c:pt>
                <c:pt idx="155">
                  <c:v>13390.91</c:v>
                </c:pt>
                <c:pt idx="156">
                  <c:v>13400</c:v>
                </c:pt>
                <c:pt idx="157">
                  <c:v>13409.09</c:v>
                </c:pt>
                <c:pt idx="158">
                  <c:v>13409.09</c:v>
                </c:pt>
                <c:pt idx="159">
                  <c:v>13409.09</c:v>
                </c:pt>
                <c:pt idx="160">
                  <c:v>13409.09</c:v>
                </c:pt>
                <c:pt idx="161">
                  <c:v>13422.73</c:v>
                </c:pt>
                <c:pt idx="162">
                  <c:v>13440.91</c:v>
                </c:pt>
                <c:pt idx="163">
                  <c:v>13472.73</c:v>
                </c:pt>
                <c:pt idx="164">
                  <c:v>13486.36</c:v>
                </c:pt>
                <c:pt idx="165">
                  <c:v>13500</c:v>
                </c:pt>
                <c:pt idx="166">
                  <c:v>13509.09</c:v>
                </c:pt>
                <c:pt idx="167">
                  <c:v>13513.64</c:v>
                </c:pt>
                <c:pt idx="168">
                  <c:v>13527.27</c:v>
                </c:pt>
                <c:pt idx="169">
                  <c:v>13550</c:v>
                </c:pt>
                <c:pt idx="170">
                  <c:v>13563.64</c:v>
                </c:pt>
                <c:pt idx="171">
                  <c:v>13572.73</c:v>
                </c:pt>
                <c:pt idx="172">
                  <c:v>13595.45</c:v>
                </c:pt>
                <c:pt idx="173">
                  <c:v>13604.55</c:v>
                </c:pt>
                <c:pt idx="174">
                  <c:v>13613.64</c:v>
                </c:pt>
                <c:pt idx="175">
                  <c:v>13622.73</c:v>
                </c:pt>
                <c:pt idx="176">
                  <c:v>13627.27</c:v>
                </c:pt>
                <c:pt idx="177">
                  <c:v>13636.36</c:v>
                </c:pt>
                <c:pt idx="178">
                  <c:v>13636.36</c:v>
                </c:pt>
                <c:pt idx="179">
                  <c:v>13677.27</c:v>
                </c:pt>
                <c:pt idx="180">
                  <c:v>13681.82</c:v>
                </c:pt>
                <c:pt idx="181">
                  <c:v>13681.82</c:v>
                </c:pt>
                <c:pt idx="182">
                  <c:v>13690.91</c:v>
                </c:pt>
                <c:pt idx="183">
                  <c:v>13700</c:v>
                </c:pt>
                <c:pt idx="184">
                  <c:v>13727.27</c:v>
                </c:pt>
                <c:pt idx="185">
                  <c:v>13745.45</c:v>
                </c:pt>
                <c:pt idx="186">
                  <c:v>13745.45</c:v>
                </c:pt>
                <c:pt idx="187">
                  <c:v>13745.45</c:v>
                </c:pt>
                <c:pt idx="188">
                  <c:v>13768.18</c:v>
                </c:pt>
                <c:pt idx="189">
                  <c:v>13772.73</c:v>
                </c:pt>
                <c:pt idx="190">
                  <c:v>13772.73</c:v>
                </c:pt>
                <c:pt idx="191">
                  <c:v>13781.82</c:v>
                </c:pt>
                <c:pt idx="192">
                  <c:v>13795.45</c:v>
                </c:pt>
                <c:pt idx="193">
                  <c:v>13813.64</c:v>
                </c:pt>
                <c:pt idx="194">
                  <c:v>13822.73</c:v>
                </c:pt>
                <c:pt idx="195">
                  <c:v>13854.55</c:v>
                </c:pt>
                <c:pt idx="196">
                  <c:v>13863.64</c:v>
                </c:pt>
                <c:pt idx="197">
                  <c:v>13863.64</c:v>
                </c:pt>
                <c:pt idx="198">
                  <c:v>13863.64</c:v>
                </c:pt>
                <c:pt idx="199">
                  <c:v>13863.64</c:v>
                </c:pt>
                <c:pt idx="200">
                  <c:v>13872.73</c:v>
                </c:pt>
                <c:pt idx="201">
                  <c:v>13895.45</c:v>
                </c:pt>
                <c:pt idx="202">
                  <c:v>13909.09</c:v>
                </c:pt>
                <c:pt idx="203">
                  <c:v>13918.18</c:v>
                </c:pt>
                <c:pt idx="204">
                  <c:v>13936.36</c:v>
                </c:pt>
                <c:pt idx="205">
                  <c:v>13954.55</c:v>
                </c:pt>
                <c:pt idx="206">
                  <c:v>13954.55</c:v>
                </c:pt>
                <c:pt idx="207">
                  <c:v>13963.64</c:v>
                </c:pt>
                <c:pt idx="208">
                  <c:v>13968.18</c:v>
                </c:pt>
                <c:pt idx="209">
                  <c:v>13986.36</c:v>
                </c:pt>
                <c:pt idx="210">
                  <c:v>13990.91</c:v>
                </c:pt>
                <c:pt idx="211">
                  <c:v>14000</c:v>
                </c:pt>
                <c:pt idx="212">
                  <c:v>14022.73</c:v>
                </c:pt>
                <c:pt idx="213">
                  <c:v>14031.82</c:v>
                </c:pt>
                <c:pt idx="214">
                  <c:v>14040.91</c:v>
                </c:pt>
                <c:pt idx="215">
                  <c:v>14040.91</c:v>
                </c:pt>
                <c:pt idx="216">
                  <c:v>14054.55</c:v>
                </c:pt>
                <c:pt idx="217">
                  <c:v>14077.27</c:v>
                </c:pt>
                <c:pt idx="218">
                  <c:v>14086.36</c:v>
                </c:pt>
                <c:pt idx="219">
                  <c:v>14090.91</c:v>
                </c:pt>
                <c:pt idx="220">
                  <c:v>14090.91</c:v>
                </c:pt>
                <c:pt idx="221">
                  <c:v>14100</c:v>
                </c:pt>
                <c:pt idx="222">
                  <c:v>14104.55</c:v>
                </c:pt>
                <c:pt idx="223">
                  <c:v>14109.09</c:v>
                </c:pt>
                <c:pt idx="224">
                  <c:v>14122.73</c:v>
                </c:pt>
                <c:pt idx="225">
                  <c:v>14127.27</c:v>
                </c:pt>
                <c:pt idx="226">
                  <c:v>14136.36</c:v>
                </c:pt>
                <c:pt idx="227">
                  <c:v>14136.36</c:v>
                </c:pt>
                <c:pt idx="228">
                  <c:v>14150</c:v>
                </c:pt>
                <c:pt idx="229">
                  <c:v>14159.09</c:v>
                </c:pt>
                <c:pt idx="230">
                  <c:v>14218.18</c:v>
                </c:pt>
                <c:pt idx="231">
                  <c:v>14227.27</c:v>
                </c:pt>
                <c:pt idx="232">
                  <c:v>14227.27</c:v>
                </c:pt>
                <c:pt idx="233">
                  <c:v>14245.45</c:v>
                </c:pt>
                <c:pt idx="234">
                  <c:v>14245.45</c:v>
                </c:pt>
                <c:pt idx="235">
                  <c:v>14259.09</c:v>
                </c:pt>
                <c:pt idx="236">
                  <c:v>14272.73</c:v>
                </c:pt>
                <c:pt idx="237">
                  <c:v>14290.91</c:v>
                </c:pt>
                <c:pt idx="238">
                  <c:v>14359.09</c:v>
                </c:pt>
                <c:pt idx="239">
                  <c:v>14409.09</c:v>
                </c:pt>
                <c:pt idx="240">
                  <c:v>14409.09</c:v>
                </c:pt>
                <c:pt idx="241">
                  <c:v>14445.45</c:v>
                </c:pt>
                <c:pt idx="242">
                  <c:v>14445.45</c:v>
                </c:pt>
                <c:pt idx="243">
                  <c:v>14454.55</c:v>
                </c:pt>
                <c:pt idx="244">
                  <c:v>14454.55</c:v>
                </c:pt>
                <c:pt idx="245">
                  <c:v>14500</c:v>
                </c:pt>
                <c:pt idx="246">
                  <c:v>14500</c:v>
                </c:pt>
                <c:pt idx="247">
                  <c:v>14536.36</c:v>
                </c:pt>
                <c:pt idx="248">
                  <c:v>14540.91</c:v>
                </c:pt>
                <c:pt idx="249">
                  <c:v>14545.45</c:v>
                </c:pt>
                <c:pt idx="250">
                  <c:v>14545.45</c:v>
                </c:pt>
                <c:pt idx="251">
                  <c:v>14577.27</c:v>
                </c:pt>
                <c:pt idx="252">
                  <c:v>14609.09</c:v>
                </c:pt>
                <c:pt idx="253">
                  <c:v>14636.36</c:v>
                </c:pt>
                <c:pt idx="254">
                  <c:v>14668.18</c:v>
                </c:pt>
                <c:pt idx="255">
                  <c:v>14668.18</c:v>
                </c:pt>
                <c:pt idx="256">
                  <c:v>14681.82</c:v>
                </c:pt>
                <c:pt idx="257">
                  <c:v>14681.82</c:v>
                </c:pt>
                <c:pt idx="258">
                  <c:v>14700</c:v>
                </c:pt>
                <c:pt idx="259">
                  <c:v>14727.27</c:v>
                </c:pt>
                <c:pt idx="260">
                  <c:v>14745.45</c:v>
                </c:pt>
                <c:pt idx="261">
                  <c:v>14750</c:v>
                </c:pt>
                <c:pt idx="262">
                  <c:v>14772.73</c:v>
                </c:pt>
                <c:pt idx="263">
                  <c:v>14772.73</c:v>
                </c:pt>
                <c:pt idx="264">
                  <c:v>14772.73</c:v>
                </c:pt>
                <c:pt idx="265">
                  <c:v>14772.73</c:v>
                </c:pt>
                <c:pt idx="266">
                  <c:v>14777.27</c:v>
                </c:pt>
                <c:pt idx="267">
                  <c:v>14781.82</c:v>
                </c:pt>
                <c:pt idx="268">
                  <c:v>14845.45</c:v>
                </c:pt>
                <c:pt idx="269">
                  <c:v>14850</c:v>
                </c:pt>
                <c:pt idx="270">
                  <c:v>14850</c:v>
                </c:pt>
                <c:pt idx="271">
                  <c:v>14877.27</c:v>
                </c:pt>
                <c:pt idx="272">
                  <c:v>14886.36</c:v>
                </c:pt>
                <c:pt idx="273">
                  <c:v>14909.09</c:v>
                </c:pt>
                <c:pt idx="274">
                  <c:v>14918.18</c:v>
                </c:pt>
                <c:pt idx="275">
                  <c:v>14927.27</c:v>
                </c:pt>
                <c:pt idx="276">
                  <c:v>14936.36</c:v>
                </c:pt>
                <c:pt idx="277">
                  <c:v>14954.55</c:v>
                </c:pt>
                <c:pt idx="278">
                  <c:v>15040.91</c:v>
                </c:pt>
                <c:pt idx="279">
                  <c:v>15045.45</c:v>
                </c:pt>
                <c:pt idx="280">
                  <c:v>15118.18</c:v>
                </c:pt>
                <c:pt idx="281">
                  <c:v>15127.27</c:v>
                </c:pt>
                <c:pt idx="282">
                  <c:v>15136.36</c:v>
                </c:pt>
                <c:pt idx="283">
                  <c:v>15136.36</c:v>
                </c:pt>
                <c:pt idx="284">
                  <c:v>15145.45</c:v>
                </c:pt>
                <c:pt idx="285">
                  <c:v>15181.82</c:v>
                </c:pt>
                <c:pt idx="286">
                  <c:v>15181.82</c:v>
                </c:pt>
                <c:pt idx="287">
                  <c:v>15259.09</c:v>
                </c:pt>
                <c:pt idx="288">
                  <c:v>15281.82</c:v>
                </c:pt>
                <c:pt idx="289">
                  <c:v>15290.91</c:v>
                </c:pt>
                <c:pt idx="290">
                  <c:v>15309.09</c:v>
                </c:pt>
                <c:pt idx="291">
                  <c:v>15318.18</c:v>
                </c:pt>
                <c:pt idx="292">
                  <c:v>15327.27</c:v>
                </c:pt>
                <c:pt idx="293">
                  <c:v>15340.91</c:v>
                </c:pt>
                <c:pt idx="294">
                  <c:v>15354.55</c:v>
                </c:pt>
                <c:pt idx="295">
                  <c:v>15363.64</c:v>
                </c:pt>
                <c:pt idx="296">
                  <c:v>15400</c:v>
                </c:pt>
                <c:pt idx="297">
                  <c:v>15409.09</c:v>
                </c:pt>
                <c:pt idx="298">
                  <c:v>15454.55</c:v>
                </c:pt>
                <c:pt idx="299">
                  <c:v>15486.36</c:v>
                </c:pt>
                <c:pt idx="300">
                  <c:v>15495.45</c:v>
                </c:pt>
                <c:pt idx="301">
                  <c:v>15509.09</c:v>
                </c:pt>
                <c:pt idx="302">
                  <c:v>15568.18</c:v>
                </c:pt>
                <c:pt idx="303">
                  <c:v>15590.91</c:v>
                </c:pt>
                <c:pt idx="304">
                  <c:v>15590.91</c:v>
                </c:pt>
                <c:pt idx="305">
                  <c:v>15590.91</c:v>
                </c:pt>
                <c:pt idx="306">
                  <c:v>15595.45</c:v>
                </c:pt>
                <c:pt idx="307">
                  <c:v>15609.09</c:v>
                </c:pt>
                <c:pt idx="308">
                  <c:v>15650</c:v>
                </c:pt>
                <c:pt idx="309">
                  <c:v>15659.09</c:v>
                </c:pt>
                <c:pt idx="310">
                  <c:v>15672.73</c:v>
                </c:pt>
                <c:pt idx="311">
                  <c:v>15681.82</c:v>
                </c:pt>
                <c:pt idx="312">
                  <c:v>15681.82</c:v>
                </c:pt>
                <c:pt idx="313">
                  <c:v>15695.45</c:v>
                </c:pt>
                <c:pt idx="314">
                  <c:v>16636.3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1A5B-4808-99D1-EBC49C69B9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45462768"/>
        <c:axId val="945456104"/>
      </c:scatterChart>
      <c:valAx>
        <c:axId val="945462768"/>
        <c:scaling>
          <c:orientation val="minMax"/>
          <c:min val="0.60000000000000009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cs-CZ" dirty="0"/>
                  <a:t>Průměrný denní přírůstek od narození do zapuštění</a:t>
                </a:r>
                <a:r>
                  <a:rPr lang="en-US" dirty="0"/>
                  <a:t>, kg</a:t>
                </a:r>
              </a:p>
            </c:rich>
          </c:tx>
          <c:layout>
            <c:manualLayout>
              <c:xMode val="edge"/>
              <c:yMode val="edge"/>
              <c:x val="0.19753795044931577"/>
              <c:y val="0.87090271540843511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crossAx val="945456104"/>
        <c:crosses val="autoZero"/>
        <c:crossBetween val="midCat"/>
      </c:valAx>
      <c:valAx>
        <c:axId val="945456104"/>
        <c:scaling>
          <c:orientation val="minMax"/>
          <c:min val="6000"/>
        </c:scaling>
        <c:delete val="0"/>
        <c:axPos val="l"/>
        <c:title>
          <c:tx>
            <c:rich>
              <a:bodyPr/>
              <a:lstStyle/>
              <a:p>
                <a:pPr>
                  <a:defRPr/>
                </a:pPr>
                <a:r>
                  <a:rPr lang="cs-CZ" dirty="0"/>
                  <a:t>Produkce mléka za 305 dnů</a:t>
                </a:r>
                <a:r>
                  <a:rPr lang="en-US" dirty="0"/>
                  <a:t>, kg</a:t>
                </a:r>
              </a:p>
            </c:rich>
          </c:tx>
          <c:layout>
            <c:manualLayout>
              <c:xMode val="edge"/>
              <c:yMode val="edge"/>
              <c:x val="1.60463710590408E-2"/>
              <c:y val="6.7809520500077741E-2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crossAx val="945462768"/>
        <c:crosses val="autoZero"/>
        <c:crossBetween val="midCat"/>
      </c:valAx>
      <c:spPr>
        <a:noFill/>
      </c:spPr>
    </c:plotArea>
    <c:plotVisOnly val="1"/>
    <c:dispBlanksAs val="gap"/>
    <c:showDLblsOverMax val="0"/>
  </c:chart>
  <c:txPr>
    <a:bodyPr/>
    <a:lstStyle/>
    <a:p>
      <a:pPr>
        <a:defRPr sz="2400">
          <a:solidFill>
            <a:schemeClr val="bg1"/>
          </a:solidFill>
          <a:latin typeface="Arial" pitchFamily="34" charset="0"/>
          <a:cs typeface="Arial" pitchFamily="34" charset="0"/>
        </a:defRPr>
      </a:pPr>
      <a:endParaRPr lang="cs-CZ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4339129483814544"/>
          <c:y val="5.1400554097404488E-2"/>
          <c:w val="0.77251290463691924"/>
          <c:h val="0.72410505978419515"/>
        </c:manualLayout>
      </c:layout>
      <c:barChart>
        <c:barDir val="col"/>
        <c:grouping val="clustered"/>
        <c:varyColors val="0"/>
        <c:ser>
          <c:idx val="0"/>
          <c:order val="0"/>
          <c:tx>
            <c:v>January</c:v>
          </c:tx>
          <c:invertIfNegative val="0"/>
          <c:cat>
            <c:strRef>
              <c:f>Sheet1!$A$63:$A$78</c:f>
              <c:strCache>
                <c:ptCount val="16"/>
                <c:pt idx="0">
                  <c:v>C4:0</c:v>
                </c:pt>
                <c:pt idx="1">
                  <c:v>C6:0</c:v>
                </c:pt>
                <c:pt idx="2">
                  <c:v>C8:0</c:v>
                </c:pt>
                <c:pt idx="3">
                  <c:v>C10:0</c:v>
                </c:pt>
                <c:pt idx="4">
                  <c:v>C12:0</c:v>
                </c:pt>
                <c:pt idx="5">
                  <c:v>C14:0</c:v>
                </c:pt>
                <c:pt idx="6">
                  <c:v>C14:1</c:v>
                </c:pt>
                <c:pt idx="7">
                  <c:v>C15:0</c:v>
                </c:pt>
                <c:pt idx="8">
                  <c:v>C16:0</c:v>
                </c:pt>
                <c:pt idx="9">
                  <c:v>C16:1</c:v>
                </c:pt>
                <c:pt idx="10">
                  <c:v>C17:0</c:v>
                </c:pt>
                <c:pt idx="11">
                  <c:v>C18:0</c:v>
                </c:pt>
                <c:pt idx="12">
                  <c:v>C18:1</c:v>
                </c:pt>
                <c:pt idx="13">
                  <c:v>C18:2</c:v>
                </c:pt>
                <c:pt idx="14">
                  <c:v>C18:3</c:v>
                </c:pt>
                <c:pt idx="15">
                  <c:v>&gt;C20</c:v>
                </c:pt>
              </c:strCache>
            </c:strRef>
          </c:cat>
          <c:val>
            <c:numRef>
              <c:f>Sheet1!$E$63:$E$78</c:f>
              <c:numCache>
                <c:formatCode>General</c:formatCode>
                <c:ptCount val="16"/>
                <c:pt idx="0">
                  <c:v>3.9499999999999997</c:v>
                </c:pt>
                <c:pt idx="1">
                  <c:v>2.5299999999999998</c:v>
                </c:pt>
                <c:pt idx="2">
                  <c:v>1.52</c:v>
                </c:pt>
                <c:pt idx="3">
                  <c:v>3.4499999999999997</c:v>
                </c:pt>
                <c:pt idx="4">
                  <c:v>3.9899999999999998</c:v>
                </c:pt>
                <c:pt idx="5">
                  <c:v>12.08</c:v>
                </c:pt>
                <c:pt idx="6">
                  <c:v>1.1199999999999977</c:v>
                </c:pt>
                <c:pt idx="7">
                  <c:v>1.1599999999999977</c:v>
                </c:pt>
                <c:pt idx="8">
                  <c:v>33.340000000000003</c:v>
                </c:pt>
                <c:pt idx="9">
                  <c:v>0.27</c:v>
                </c:pt>
                <c:pt idx="10">
                  <c:v>0.51</c:v>
                </c:pt>
                <c:pt idx="11">
                  <c:v>9.01</c:v>
                </c:pt>
                <c:pt idx="12">
                  <c:v>19.16</c:v>
                </c:pt>
                <c:pt idx="13">
                  <c:v>1.3699999999999977</c:v>
                </c:pt>
                <c:pt idx="14">
                  <c:v>0.25</c:v>
                </c:pt>
                <c:pt idx="15">
                  <c:v>0.240000000000000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03-4141-A147-9AB38604097D}"/>
            </c:ext>
          </c:extLst>
        </c:ser>
        <c:ser>
          <c:idx val="1"/>
          <c:order val="1"/>
          <c:tx>
            <c:v>June</c:v>
          </c:tx>
          <c:invertIfNegative val="0"/>
          <c:cat>
            <c:strRef>
              <c:f>Sheet1!$A$63:$A$78</c:f>
              <c:strCache>
                <c:ptCount val="16"/>
                <c:pt idx="0">
                  <c:v>C4:0</c:v>
                </c:pt>
                <c:pt idx="1">
                  <c:v>C6:0</c:v>
                </c:pt>
                <c:pt idx="2">
                  <c:v>C8:0</c:v>
                </c:pt>
                <c:pt idx="3">
                  <c:v>C10:0</c:v>
                </c:pt>
                <c:pt idx="4">
                  <c:v>C12:0</c:v>
                </c:pt>
                <c:pt idx="5">
                  <c:v>C14:0</c:v>
                </c:pt>
                <c:pt idx="6">
                  <c:v>C14:1</c:v>
                </c:pt>
                <c:pt idx="7">
                  <c:v>C15:0</c:v>
                </c:pt>
                <c:pt idx="8">
                  <c:v>C16:0</c:v>
                </c:pt>
                <c:pt idx="9">
                  <c:v>C16:1</c:v>
                </c:pt>
                <c:pt idx="10">
                  <c:v>C17:0</c:v>
                </c:pt>
                <c:pt idx="11">
                  <c:v>C18:0</c:v>
                </c:pt>
                <c:pt idx="12">
                  <c:v>C18:1</c:v>
                </c:pt>
                <c:pt idx="13">
                  <c:v>C18:2</c:v>
                </c:pt>
                <c:pt idx="14">
                  <c:v>C18:3</c:v>
                </c:pt>
                <c:pt idx="15">
                  <c:v>&gt;C20</c:v>
                </c:pt>
              </c:strCache>
            </c:strRef>
          </c:cat>
          <c:val>
            <c:numRef>
              <c:f>Sheet1!$F$63:$F$78</c:f>
              <c:numCache>
                <c:formatCode>General</c:formatCode>
                <c:ptCount val="16"/>
                <c:pt idx="0">
                  <c:v>3.8299999999999987</c:v>
                </c:pt>
                <c:pt idx="1">
                  <c:v>2.38</c:v>
                </c:pt>
                <c:pt idx="2">
                  <c:v>1.42</c:v>
                </c:pt>
                <c:pt idx="3">
                  <c:v>3.1399999999999997</c:v>
                </c:pt>
                <c:pt idx="4">
                  <c:v>3.5700000000000003</c:v>
                </c:pt>
                <c:pt idx="5">
                  <c:v>11.03</c:v>
                </c:pt>
                <c:pt idx="6">
                  <c:v>0.90999999999999992</c:v>
                </c:pt>
                <c:pt idx="7">
                  <c:v>1.1499999999999977</c:v>
                </c:pt>
                <c:pt idx="8">
                  <c:v>27.05</c:v>
                </c:pt>
                <c:pt idx="9">
                  <c:v>0.35000000000000031</c:v>
                </c:pt>
                <c:pt idx="10">
                  <c:v>0.70000000000000062</c:v>
                </c:pt>
                <c:pt idx="11">
                  <c:v>10.960000000000004</c:v>
                </c:pt>
                <c:pt idx="12">
                  <c:v>24</c:v>
                </c:pt>
                <c:pt idx="13">
                  <c:v>1.1700000000000019</c:v>
                </c:pt>
                <c:pt idx="14">
                  <c:v>0.60000000000000064</c:v>
                </c:pt>
                <c:pt idx="15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203-4141-A147-9AB3860409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45458456"/>
        <c:axId val="945463160"/>
      </c:barChart>
      <c:catAx>
        <c:axId val="94545845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945463160"/>
        <c:crosses val="autoZero"/>
        <c:auto val="1"/>
        <c:lblAlgn val="ctr"/>
        <c:lblOffset val="100"/>
        <c:noMultiLvlLbl val="0"/>
      </c:catAx>
      <c:valAx>
        <c:axId val="945463160"/>
        <c:scaling>
          <c:orientation val="minMax"/>
          <c:max val="35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sz="1400" dirty="0"/>
                  <a:t>g/100g total fatty acid</a:t>
                </a:r>
              </a:p>
            </c:rich>
          </c:tx>
          <c:layout>
            <c:manualLayout>
              <c:xMode val="edge"/>
              <c:yMode val="edge"/>
              <c:x val="4.6846029127686144E-2"/>
              <c:y val="0.26881693279871277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crossAx val="94545845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1590419947506554"/>
          <c:y val="0.10146799358413532"/>
          <c:w val="0.13409580052493444"/>
          <c:h val="0.16743438320210047"/>
        </c:manualLayout>
      </c:layout>
      <c:overlay val="0"/>
    </c:legend>
    <c:plotVisOnly val="1"/>
    <c:dispBlanksAs val="gap"/>
    <c:showDLblsOverMax val="0"/>
  </c:chart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A3860F-6DBD-4A6D-9B4E-4BDE498A6F04}" type="datetimeFigureOut">
              <a:rPr lang="en-GB" smtClean="0"/>
              <a:t>17/02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9EED22-71A7-46B2-9368-16C2CB9DECB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17807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Tahoma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charset="0"/>
                <a:ea typeface="MS PGothic" charset="0"/>
                <a:cs typeface="MS PGothic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DFC8462-B555-5D40-8E7D-BE73FDCD9B3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charset="0"/>
                <a:ea typeface="MS PGothic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charset="0"/>
              <a:ea typeface="MS PGothic" charset="0"/>
            </a:endParaRPr>
          </a:p>
        </p:txBody>
      </p:sp>
      <p:sp>
        <p:nvSpPr>
          <p:cNvPr id="686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8612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>
              <a:defRPr/>
            </a:pPr>
            <a:endParaRPr lang="en-GB" dirty="0"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44714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Slide Image Placeholder 1">
            <a:extLst>
              <a:ext uri="{FF2B5EF4-FFF2-40B4-BE49-F238E27FC236}">
                <a16:creationId xmlns:a16="http://schemas.microsoft.com/office/drawing/2014/main" id="{D2D0E1DC-C4F8-4E26-87D0-E218EDD50EBB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3555" name="Notes Placeholder 2">
            <a:extLst>
              <a:ext uri="{FF2B5EF4-FFF2-40B4-BE49-F238E27FC236}">
                <a16:creationId xmlns:a16="http://schemas.microsoft.com/office/drawing/2014/main" id="{7F597B7D-A76A-4805-8EED-89BF655551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altLang="en-US">
              <a:latin typeface="Arial" panose="020B0604020202020204" pitchFamily="34" charset="0"/>
            </a:endParaRPr>
          </a:p>
        </p:txBody>
      </p:sp>
      <p:sp>
        <p:nvSpPr>
          <p:cNvPr id="23556" name="Slide Number Placeholder 3">
            <a:extLst>
              <a:ext uri="{FF2B5EF4-FFF2-40B4-BE49-F238E27FC236}">
                <a16:creationId xmlns:a16="http://schemas.microsoft.com/office/drawing/2014/main" id="{41CAD090-19EB-4518-8552-089B22EFA26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4E24EB4-3AF4-4A0F-8B91-AA0DF7439DBB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GB" altLang="en-US">
              <a:latin typeface="Arial" panose="020B0604020202020204" pitchFamily="34" charset="0"/>
            </a:endParaRPr>
          </a:p>
        </p:txBody>
      </p:sp>
      <p:sp>
        <p:nvSpPr>
          <p:cNvPr id="3994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75F998E-FFC5-46C5-9379-1B5463963FDA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3606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3795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GB" altLang="en-US">
              <a:latin typeface="Arial" panose="020B0604020202020204" pitchFamily="34" charset="0"/>
            </a:endParaRPr>
          </a:p>
        </p:txBody>
      </p:sp>
      <p:sp>
        <p:nvSpPr>
          <p:cNvPr id="3379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F76473-312C-4620-911E-125CCB9FC0DB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07277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Slide Image Placeholder 1">
            <a:extLst>
              <a:ext uri="{FF2B5EF4-FFF2-40B4-BE49-F238E27FC236}">
                <a16:creationId xmlns:a16="http://schemas.microsoft.com/office/drawing/2014/main" id="{A9775C43-1B47-4D5D-A7A4-3C49BE4E02A3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6627" name="Notes Placeholder 2">
            <a:extLst>
              <a:ext uri="{FF2B5EF4-FFF2-40B4-BE49-F238E27FC236}">
                <a16:creationId xmlns:a16="http://schemas.microsoft.com/office/drawing/2014/main" id="{D493E3BF-6396-4330-A903-B519A46DEE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altLang="en-US">
              <a:latin typeface="Arial" panose="020B0604020202020204" pitchFamily="34" charset="0"/>
            </a:endParaRPr>
          </a:p>
        </p:txBody>
      </p:sp>
      <p:sp>
        <p:nvSpPr>
          <p:cNvPr id="26628" name="Slide Number Placeholder 3">
            <a:extLst>
              <a:ext uri="{FF2B5EF4-FFF2-40B4-BE49-F238E27FC236}">
                <a16:creationId xmlns:a16="http://schemas.microsoft.com/office/drawing/2014/main" id="{F20EDA07-C486-4188-9370-DA913F8B91B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27BDA006-E062-427E-B119-70512771B642}" type="slidenum">
              <a:rPr lang="en-GB" altLang="en-US" sz="1200" smtClean="0">
                <a:solidFill>
                  <a:srgbClr val="000000"/>
                </a:solidFill>
                <a:latin typeface="Arial" panose="020B0604020202020204" pitchFamily="34" charset="0"/>
              </a:rPr>
              <a:pPr/>
              <a:t>22</a:t>
            </a:fld>
            <a:endParaRPr lang="en-GB" altLang="en-US" sz="120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Slide Image Placeholder 1">
            <a:extLst>
              <a:ext uri="{FF2B5EF4-FFF2-40B4-BE49-F238E27FC236}">
                <a16:creationId xmlns:a16="http://schemas.microsoft.com/office/drawing/2014/main" id="{19215AA7-0896-409A-890F-08D0BB40690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0179" name="Notes Placeholder 2">
            <a:extLst>
              <a:ext uri="{FF2B5EF4-FFF2-40B4-BE49-F238E27FC236}">
                <a16:creationId xmlns:a16="http://schemas.microsoft.com/office/drawing/2014/main" id="{75A255B7-60EE-4F08-B1FD-9F676A903D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altLang="en-US">
              <a:latin typeface="Arial" panose="020B0604020202020204" pitchFamily="34" charset="0"/>
            </a:endParaRPr>
          </a:p>
        </p:txBody>
      </p:sp>
      <p:sp>
        <p:nvSpPr>
          <p:cNvPr id="50180" name="Slide Number Placeholder 3">
            <a:extLst>
              <a:ext uri="{FF2B5EF4-FFF2-40B4-BE49-F238E27FC236}">
                <a16:creationId xmlns:a16="http://schemas.microsoft.com/office/drawing/2014/main" id="{4016FD90-80E1-4BCB-B63B-FFE1E66D93A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8852549E-6532-44A0-B5CA-9F328D599547}" type="slidenum">
              <a:rPr lang="en-GB" altLang="en-US" sz="1200" smtClean="0">
                <a:solidFill>
                  <a:srgbClr val="000000"/>
                </a:solidFill>
                <a:latin typeface="Arial" panose="020B0604020202020204" pitchFamily="34" charset="0"/>
              </a:rPr>
              <a:pPr/>
              <a:t>32</a:t>
            </a:fld>
            <a:endParaRPr lang="en-GB" altLang="en-US" sz="120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Slide Image Placeholder 1">
            <a:extLst>
              <a:ext uri="{FF2B5EF4-FFF2-40B4-BE49-F238E27FC236}">
                <a16:creationId xmlns:a16="http://schemas.microsoft.com/office/drawing/2014/main" id="{F12BC787-6C95-4A72-BEA8-0B6B5B2EA14F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8371" name="Notes Placeholder 2">
            <a:extLst>
              <a:ext uri="{FF2B5EF4-FFF2-40B4-BE49-F238E27FC236}">
                <a16:creationId xmlns:a16="http://schemas.microsoft.com/office/drawing/2014/main" id="{8BFF44C4-758B-45F6-8C1C-FA7642B6E0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GB" altLang="en-US">
              <a:latin typeface="Arial" panose="020B0604020202020204" pitchFamily="34" charset="0"/>
            </a:endParaRPr>
          </a:p>
        </p:txBody>
      </p:sp>
      <p:sp>
        <p:nvSpPr>
          <p:cNvPr id="58372" name="Slide Number Placeholder 3">
            <a:extLst>
              <a:ext uri="{FF2B5EF4-FFF2-40B4-BE49-F238E27FC236}">
                <a16:creationId xmlns:a16="http://schemas.microsoft.com/office/drawing/2014/main" id="{C3FCBF8D-3B38-450D-B87F-0E904AE042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66D1FDBD-C5BD-43B1-AD72-CEA51ACF023C}" type="slidenum">
              <a:rPr lang="en-US" altLang="en-US" sz="1200" smtClean="0">
                <a:latin typeface="Arial" panose="020B0604020202020204" pitchFamily="34" charset="0"/>
              </a:rPr>
              <a:pPr/>
              <a:t>37</a:t>
            </a:fld>
            <a:endParaRPr lang="en-US" altLang="en-US" sz="1200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>
                <a:highlight>
                  <a:srgbClr val="FFFF00"/>
                </a:highlight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MR1-fed calves showing a bigger increase in diversity/evenness from week zero compared to MR2-fed calves (p&lt;0.05).</a:t>
            </a:r>
            <a:endParaRPr lang="en-GB" dirty="0">
              <a:latin typeface="Cambria" panose="02040503050406030204" pitchFamily="18" charset="0"/>
              <a:ea typeface="MS Mincho" panose="02020609040205080304" pitchFamily="49" charset="-128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Wingdings" pitchFamily="2" charset="2"/>
              <a:buChar char=""/>
            </a:pPr>
            <a:r>
              <a:rPr lang="en-GB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In week zero</a:t>
            </a:r>
            <a:r>
              <a:rPr lang="en-GB" b="1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 </a:t>
            </a:r>
            <a:r>
              <a:rPr lang="en-GB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microbiome dominated by Firmicutes (60%) and Proteobacteria (33%), with low level of Bacteroidetes (5%). Firmicutes is comprised of families </a:t>
            </a:r>
            <a:r>
              <a:rPr lang="en-GB" i="1" dirty="0" err="1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Clostridiaceae</a:t>
            </a:r>
            <a:r>
              <a:rPr lang="en-GB" i="1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 </a:t>
            </a:r>
            <a:r>
              <a:rPr lang="en-GB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(30%)</a:t>
            </a:r>
            <a:r>
              <a:rPr lang="en-GB" i="1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, Ruminococcaceae</a:t>
            </a:r>
            <a:r>
              <a:rPr lang="en-GB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 (10%), </a:t>
            </a:r>
            <a:r>
              <a:rPr lang="en-GB" i="1" dirty="0" err="1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Streptococcaceae</a:t>
            </a:r>
            <a:r>
              <a:rPr lang="en-GB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 (8%), </a:t>
            </a:r>
            <a:r>
              <a:rPr lang="en-GB" i="1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Lachnospiraceae</a:t>
            </a:r>
            <a:r>
              <a:rPr lang="en-GB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 (6%), </a:t>
            </a:r>
            <a:r>
              <a:rPr lang="en-GB" i="1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Lactobacillaceae </a:t>
            </a:r>
            <a:r>
              <a:rPr lang="en-GB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(3%) and </a:t>
            </a:r>
            <a:r>
              <a:rPr lang="en-GB" i="1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Bifidobacteriaceae</a:t>
            </a:r>
            <a:r>
              <a:rPr lang="en-GB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 (2%), and genera </a:t>
            </a:r>
            <a:r>
              <a:rPr lang="en-GB" i="1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Clostridium </a:t>
            </a:r>
            <a:r>
              <a:rPr lang="en-GB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(14%)</a:t>
            </a:r>
            <a:r>
              <a:rPr lang="en-GB" i="1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, Lactobacillus (</a:t>
            </a:r>
            <a:r>
              <a:rPr lang="en-GB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2%),</a:t>
            </a:r>
            <a:r>
              <a:rPr lang="en-GB" i="1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 Streptococcus </a:t>
            </a:r>
            <a:r>
              <a:rPr lang="en-GB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and </a:t>
            </a:r>
            <a:r>
              <a:rPr lang="en-GB" i="1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Lactococcus</a:t>
            </a:r>
            <a:r>
              <a:rPr lang="en-GB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. Proteobacteria is comprised mainly of </a:t>
            </a:r>
            <a:r>
              <a:rPr lang="en-GB" i="1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Escherichia </a:t>
            </a:r>
            <a:r>
              <a:rPr lang="en-GB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(33%)</a:t>
            </a:r>
            <a:endParaRPr lang="en-GB" sz="1000" dirty="0">
              <a:latin typeface="Times" pitchFamily="2" charset="0"/>
              <a:ea typeface="MS Mincho" panose="02020609040205080304" pitchFamily="49" charset="-128"/>
              <a:cs typeface="Times New Roman" panose="02020603050405020304" pitchFamily="18" charset="0"/>
            </a:endParaRPr>
          </a:p>
          <a:p>
            <a:pPr marL="180340" algn="just">
              <a:spcAft>
                <a:spcPts val="0"/>
              </a:spcAft>
            </a:pPr>
            <a:r>
              <a:rPr lang="en-GB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 </a:t>
            </a:r>
            <a:endParaRPr lang="en-GB" sz="1000" dirty="0">
              <a:latin typeface="Times" pitchFamily="2" charset="0"/>
              <a:ea typeface="MS Mincho" panose="02020609040205080304" pitchFamily="49" charset="-128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Wingdings" pitchFamily="2" charset="2"/>
              <a:buChar char=""/>
            </a:pPr>
            <a:r>
              <a:rPr lang="en-GB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Proteobacteria levels dramatically reduce after week 0 (33%), due to reduction of </a:t>
            </a:r>
            <a:r>
              <a:rPr lang="en-GB" i="1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Escherichia </a:t>
            </a:r>
            <a:r>
              <a:rPr lang="en-GB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following consumption of first milk replacer feed. (</a:t>
            </a:r>
            <a:r>
              <a:rPr lang="en-GB" i="1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Escherichia </a:t>
            </a:r>
            <a:r>
              <a:rPr lang="en-GB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abundance: week 1 - 9%, week 2 -7%, week 4 - 4%, week 7 - 4%).</a:t>
            </a:r>
            <a:endParaRPr lang="en-GB" sz="1000" dirty="0">
              <a:latin typeface="Times" pitchFamily="2" charset="0"/>
              <a:ea typeface="MS Mincho" panose="02020609040205080304" pitchFamily="49" charset="-128"/>
              <a:cs typeface="Times New Roman" panose="02020603050405020304" pitchFamily="18" charset="0"/>
            </a:endParaRPr>
          </a:p>
          <a:p>
            <a:pPr marL="180340" algn="just">
              <a:spcAft>
                <a:spcPts val="0"/>
              </a:spcAft>
            </a:pPr>
            <a:r>
              <a:rPr lang="en-GB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 </a:t>
            </a:r>
            <a:endParaRPr lang="en-GB" sz="1000" dirty="0">
              <a:latin typeface="Times" pitchFamily="2" charset="0"/>
              <a:ea typeface="MS Mincho" panose="02020609040205080304" pitchFamily="49" charset="-128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Wingdings" pitchFamily="2" charset="2"/>
              <a:buChar char=""/>
            </a:pPr>
            <a:r>
              <a:rPr lang="en-GB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Bacteroidetes increase after week 0 (5%), due to increase of </a:t>
            </a:r>
            <a:r>
              <a:rPr lang="en-GB" i="1" dirty="0" err="1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Prevotella</a:t>
            </a:r>
            <a:r>
              <a:rPr lang="en-GB" i="1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 </a:t>
            </a:r>
            <a:r>
              <a:rPr lang="en-GB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and </a:t>
            </a:r>
            <a:r>
              <a:rPr lang="en-GB" i="1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Bacteroides</a:t>
            </a:r>
            <a:r>
              <a:rPr lang="en-GB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 (Bacteroidetes abundance: week 1 - 27%, week2 - 39%, week 4 -36%, week 7 -34%).</a:t>
            </a:r>
            <a:endParaRPr lang="en-GB" sz="1000" dirty="0">
              <a:latin typeface="Times" pitchFamily="2" charset="0"/>
              <a:ea typeface="MS Mincho" panose="02020609040205080304" pitchFamily="49" charset="-128"/>
              <a:cs typeface="Times New Roman" panose="02020603050405020304" pitchFamily="18" charset="0"/>
            </a:endParaRPr>
          </a:p>
          <a:p>
            <a:pPr marL="180340" algn="just">
              <a:spcAft>
                <a:spcPts val="0"/>
              </a:spcAft>
            </a:pPr>
            <a:r>
              <a:rPr lang="en-GB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 </a:t>
            </a:r>
            <a:endParaRPr lang="en-GB" sz="1000" dirty="0">
              <a:latin typeface="Times" pitchFamily="2" charset="0"/>
              <a:ea typeface="MS Mincho" panose="02020609040205080304" pitchFamily="49" charset="-128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Wingdings" pitchFamily="2" charset="2"/>
              <a:buChar char=""/>
            </a:pPr>
            <a:r>
              <a:rPr lang="en-GB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Firmicutes levels stay pretty similar throughout all weeks (50-60%).</a:t>
            </a:r>
            <a:endParaRPr lang="en-GB" sz="1000" dirty="0">
              <a:latin typeface="Times" pitchFamily="2" charset="0"/>
              <a:ea typeface="MS Mincho" panose="02020609040205080304" pitchFamily="49" charset="-128"/>
              <a:cs typeface="Times New Roman" panose="02020603050405020304" pitchFamily="18" charset="0"/>
            </a:endParaRPr>
          </a:p>
          <a:p>
            <a:pPr marL="180340" algn="just">
              <a:spcAft>
                <a:spcPts val="0"/>
              </a:spcAft>
            </a:pPr>
            <a:r>
              <a:rPr lang="en-GB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 </a:t>
            </a:r>
            <a:endParaRPr lang="en-GB" sz="1000" dirty="0">
              <a:latin typeface="Times" pitchFamily="2" charset="0"/>
              <a:ea typeface="MS Mincho" panose="02020609040205080304" pitchFamily="49" charset="-128"/>
              <a:cs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Font typeface="Wingdings" pitchFamily="2" charset="2"/>
              <a:buChar char=""/>
            </a:pPr>
            <a:r>
              <a:rPr lang="en-GB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Weeks 0-1 see the most dramatic change in microbial composition (following first feed of milk replacer.</a:t>
            </a:r>
            <a:endParaRPr lang="en-GB" sz="1000" dirty="0">
              <a:latin typeface="Times" pitchFamily="2" charset="0"/>
              <a:ea typeface="MS Mincho" panose="02020609040205080304" pitchFamily="49" charset="-128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114CE5-BC0B-FC4A-BA70-E113CA845766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22550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olac Titl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9213" y="5910263"/>
            <a:ext cx="1439862" cy="736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9213" y="5910263"/>
            <a:ext cx="1439862" cy="736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564904"/>
            <a:ext cx="8229600" cy="1143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57200" y="3933825"/>
            <a:ext cx="5183187" cy="1008063"/>
          </a:xfrm>
        </p:spPr>
        <p:txBody>
          <a:bodyPr>
            <a:normAutofit/>
          </a:bodyPr>
          <a:lstStyle>
            <a:lvl1pPr marL="0" indent="0">
              <a:buFont typeface="Arial" pitchFamily="34" charset="0"/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fld id="{EC642F05-B3F6-9147-BB8B-9D4C95A14696}" type="datetimeFigureOut">
              <a:rPr lang="en-GB"/>
              <a:pPr/>
              <a:t>17/02/2019</a:t>
            </a:fld>
            <a:endParaRPr lang="en-GB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021AD821-406B-B945-818E-C5F351129E61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8912027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1318669"/>
            <a:ext cx="5111750" cy="4270572"/>
          </a:xfr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341438"/>
            <a:ext cx="3008313" cy="4250345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200" y="-27384"/>
            <a:ext cx="8229600" cy="11430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069053A5-9CF9-894F-BCAF-E39453E40C5F}" type="datetimeFigureOut">
              <a:rPr lang="en-GB"/>
              <a:pPr/>
              <a:t>17/02/2019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CD3E878-D9BB-654B-A332-6A03D2668E1F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2364252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1725" y="6092825"/>
            <a:ext cx="1439863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5653088"/>
            <a:ext cx="8243887" cy="871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1725" y="6092825"/>
            <a:ext cx="1439863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Freeform 7"/>
          <p:cNvSpPr/>
          <p:nvPr userDrawn="1"/>
        </p:nvSpPr>
        <p:spPr>
          <a:xfrm>
            <a:off x="442913" y="5683250"/>
            <a:ext cx="8269287" cy="803275"/>
          </a:xfrm>
          <a:custGeom>
            <a:avLst/>
            <a:gdLst>
              <a:gd name="connsiteX0" fmla="*/ 0 w 9029700"/>
              <a:gd name="connsiteY0" fmla="*/ 736600 h 803176"/>
              <a:gd name="connsiteX1" fmla="*/ 749300 w 9029700"/>
              <a:gd name="connsiteY1" fmla="*/ 787400 h 803176"/>
              <a:gd name="connsiteX2" fmla="*/ 2286000 w 9029700"/>
              <a:gd name="connsiteY2" fmla="*/ 800100 h 803176"/>
              <a:gd name="connsiteX3" fmla="*/ 3784600 w 9029700"/>
              <a:gd name="connsiteY3" fmla="*/ 736600 h 803176"/>
              <a:gd name="connsiteX4" fmla="*/ 5600700 w 9029700"/>
              <a:gd name="connsiteY4" fmla="*/ 596900 h 803176"/>
              <a:gd name="connsiteX5" fmla="*/ 7124700 w 9029700"/>
              <a:gd name="connsiteY5" fmla="*/ 393700 h 803176"/>
              <a:gd name="connsiteX6" fmla="*/ 8140700 w 9029700"/>
              <a:gd name="connsiteY6" fmla="*/ 190500 h 803176"/>
              <a:gd name="connsiteX7" fmla="*/ 9029700 w 9029700"/>
              <a:gd name="connsiteY7" fmla="*/ 0 h 803176"/>
              <a:gd name="connsiteX0" fmla="*/ 0 w 9029700"/>
              <a:gd name="connsiteY0" fmla="*/ 800100 h 806621"/>
              <a:gd name="connsiteX1" fmla="*/ 749300 w 9029700"/>
              <a:gd name="connsiteY1" fmla="*/ 787400 h 806621"/>
              <a:gd name="connsiteX2" fmla="*/ 2286000 w 9029700"/>
              <a:gd name="connsiteY2" fmla="*/ 800100 h 806621"/>
              <a:gd name="connsiteX3" fmla="*/ 3784600 w 9029700"/>
              <a:gd name="connsiteY3" fmla="*/ 736600 h 806621"/>
              <a:gd name="connsiteX4" fmla="*/ 5600700 w 9029700"/>
              <a:gd name="connsiteY4" fmla="*/ 596900 h 806621"/>
              <a:gd name="connsiteX5" fmla="*/ 7124700 w 9029700"/>
              <a:gd name="connsiteY5" fmla="*/ 393700 h 806621"/>
              <a:gd name="connsiteX6" fmla="*/ 8140700 w 9029700"/>
              <a:gd name="connsiteY6" fmla="*/ 190500 h 806621"/>
              <a:gd name="connsiteX7" fmla="*/ 9029700 w 9029700"/>
              <a:gd name="connsiteY7" fmla="*/ 0 h 806621"/>
              <a:gd name="connsiteX0" fmla="*/ 0 w 9057521"/>
              <a:gd name="connsiteY0" fmla="*/ 762000 h 802648"/>
              <a:gd name="connsiteX1" fmla="*/ 777121 w 9057521"/>
              <a:gd name="connsiteY1" fmla="*/ 787400 h 802648"/>
              <a:gd name="connsiteX2" fmla="*/ 2313821 w 9057521"/>
              <a:gd name="connsiteY2" fmla="*/ 800100 h 802648"/>
              <a:gd name="connsiteX3" fmla="*/ 3812421 w 9057521"/>
              <a:gd name="connsiteY3" fmla="*/ 736600 h 802648"/>
              <a:gd name="connsiteX4" fmla="*/ 5628521 w 9057521"/>
              <a:gd name="connsiteY4" fmla="*/ 596900 h 802648"/>
              <a:gd name="connsiteX5" fmla="*/ 7152521 w 9057521"/>
              <a:gd name="connsiteY5" fmla="*/ 393700 h 802648"/>
              <a:gd name="connsiteX6" fmla="*/ 8168521 w 9057521"/>
              <a:gd name="connsiteY6" fmla="*/ 190500 h 802648"/>
              <a:gd name="connsiteX7" fmla="*/ 9057521 w 9057521"/>
              <a:gd name="connsiteY7" fmla="*/ 0 h 802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057521" h="802648">
                <a:moveTo>
                  <a:pt x="0" y="762000"/>
                </a:moveTo>
                <a:cubicBezTo>
                  <a:pt x="184150" y="782108"/>
                  <a:pt x="391484" y="781050"/>
                  <a:pt x="777121" y="787400"/>
                </a:cubicBezTo>
                <a:cubicBezTo>
                  <a:pt x="1162758" y="793750"/>
                  <a:pt x="1807938" y="808567"/>
                  <a:pt x="2313821" y="800100"/>
                </a:cubicBezTo>
                <a:cubicBezTo>
                  <a:pt x="2819704" y="791633"/>
                  <a:pt x="3259971" y="770467"/>
                  <a:pt x="3812421" y="736600"/>
                </a:cubicBezTo>
                <a:cubicBezTo>
                  <a:pt x="4364871" y="702733"/>
                  <a:pt x="5071838" y="654050"/>
                  <a:pt x="5628521" y="596900"/>
                </a:cubicBezTo>
                <a:cubicBezTo>
                  <a:pt x="6185204" y="539750"/>
                  <a:pt x="6729188" y="461433"/>
                  <a:pt x="7152521" y="393700"/>
                </a:cubicBezTo>
                <a:cubicBezTo>
                  <a:pt x="7575854" y="325967"/>
                  <a:pt x="8168521" y="190500"/>
                  <a:pt x="8168521" y="190500"/>
                </a:cubicBezTo>
                <a:lnTo>
                  <a:pt x="9057521" y="0"/>
                </a:lnTo>
              </a:path>
            </a:pathLst>
          </a:cu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GB">
              <a:solidFill>
                <a:srgbClr val="655C59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293096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353630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859834"/>
            <a:ext cx="5486400" cy="804862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E6D4AB39-F4BD-A44B-BFCD-725BDE94D7E8}" type="datetimeFigureOut">
              <a:rPr lang="en-GB"/>
              <a:pPr/>
              <a:t>17/02/2019</a:t>
            </a:fld>
            <a:endParaRPr lang="en-GB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9F22A4D-B6DB-9E48-80E1-9880310AF142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1643813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85800" y="2747963"/>
            <a:ext cx="7772400" cy="1362075"/>
          </a:xfrm>
          <a:prstGeom prst="rect">
            <a:avLst/>
          </a:prstGeom>
        </p:spPr>
        <p:txBody>
          <a:bodyPr anchor="t">
            <a:normAutofit/>
          </a:bodyPr>
          <a:lstStyle>
            <a:lvl1pPr algn="ctr">
              <a:defRPr sz="2800" b="1" cap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7FE4770-C3E6-E34D-82D4-634CAA3BC3F3}" type="datetimeFigureOut">
              <a:rPr lang="en-GB"/>
              <a:pPr/>
              <a:t>17/02/2019</a:t>
            </a:fld>
            <a:endParaRPr lang="en-GB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D3615F8-BCFC-DC49-8D1E-68D1DDBBC739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0728423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/>
          </p:nvPr>
        </p:nvSpPr>
        <p:spPr>
          <a:xfrm>
            <a:off x="400050" y="392019"/>
            <a:ext cx="8340538" cy="6030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idx="1"/>
          </p:nvPr>
        </p:nvSpPr>
        <p:spPr>
          <a:xfrm>
            <a:off x="400050" y="1571580"/>
            <a:ext cx="8340538" cy="34028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75216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1617158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1679800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4892629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313" y="1268413"/>
            <a:ext cx="4027487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68413"/>
            <a:ext cx="4027488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5843904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1470785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3920554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1725" y="6092825"/>
            <a:ext cx="1439863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5653088"/>
            <a:ext cx="8243887" cy="871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1725" y="6092825"/>
            <a:ext cx="1439863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reeform 6"/>
          <p:cNvSpPr/>
          <p:nvPr userDrawn="1"/>
        </p:nvSpPr>
        <p:spPr>
          <a:xfrm>
            <a:off x="442913" y="5683250"/>
            <a:ext cx="8269287" cy="803275"/>
          </a:xfrm>
          <a:custGeom>
            <a:avLst/>
            <a:gdLst>
              <a:gd name="connsiteX0" fmla="*/ 0 w 9029700"/>
              <a:gd name="connsiteY0" fmla="*/ 736600 h 803176"/>
              <a:gd name="connsiteX1" fmla="*/ 749300 w 9029700"/>
              <a:gd name="connsiteY1" fmla="*/ 787400 h 803176"/>
              <a:gd name="connsiteX2" fmla="*/ 2286000 w 9029700"/>
              <a:gd name="connsiteY2" fmla="*/ 800100 h 803176"/>
              <a:gd name="connsiteX3" fmla="*/ 3784600 w 9029700"/>
              <a:gd name="connsiteY3" fmla="*/ 736600 h 803176"/>
              <a:gd name="connsiteX4" fmla="*/ 5600700 w 9029700"/>
              <a:gd name="connsiteY4" fmla="*/ 596900 h 803176"/>
              <a:gd name="connsiteX5" fmla="*/ 7124700 w 9029700"/>
              <a:gd name="connsiteY5" fmla="*/ 393700 h 803176"/>
              <a:gd name="connsiteX6" fmla="*/ 8140700 w 9029700"/>
              <a:gd name="connsiteY6" fmla="*/ 190500 h 803176"/>
              <a:gd name="connsiteX7" fmla="*/ 9029700 w 9029700"/>
              <a:gd name="connsiteY7" fmla="*/ 0 h 803176"/>
              <a:gd name="connsiteX0" fmla="*/ 0 w 9029700"/>
              <a:gd name="connsiteY0" fmla="*/ 800100 h 806621"/>
              <a:gd name="connsiteX1" fmla="*/ 749300 w 9029700"/>
              <a:gd name="connsiteY1" fmla="*/ 787400 h 806621"/>
              <a:gd name="connsiteX2" fmla="*/ 2286000 w 9029700"/>
              <a:gd name="connsiteY2" fmla="*/ 800100 h 806621"/>
              <a:gd name="connsiteX3" fmla="*/ 3784600 w 9029700"/>
              <a:gd name="connsiteY3" fmla="*/ 736600 h 806621"/>
              <a:gd name="connsiteX4" fmla="*/ 5600700 w 9029700"/>
              <a:gd name="connsiteY4" fmla="*/ 596900 h 806621"/>
              <a:gd name="connsiteX5" fmla="*/ 7124700 w 9029700"/>
              <a:gd name="connsiteY5" fmla="*/ 393700 h 806621"/>
              <a:gd name="connsiteX6" fmla="*/ 8140700 w 9029700"/>
              <a:gd name="connsiteY6" fmla="*/ 190500 h 806621"/>
              <a:gd name="connsiteX7" fmla="*/ 9029700 w 9029700"/>
              <a:gd name="connsiteY7" fmla="*/ 0 h 806621"/>
              <a:gd name="connsiteX0" fmla="*/ 0 w 9057521"/>
              <a:gd name="connsiteY0" fmla="*/ 762000 h 802648"/>
              <a:gd name="connsiteX1" fmla="*/ 777121 w 9057521"/>
              <a:gd name="connsiteY1" fmla="*/ 787400 h 802648"/>
              <a:gd name="connsiteX2" fmla="*/ 2313821 w 9057521"/>
              <a:gd name="connsiteY2" fmla="*/ 800100 h 802648"/>
              <a:gd name="connsiteX3" fmla="*/ 3812421 w 9057521"/>
              <a:gd name="connsiteY3" fmla="*/ 736600 h 802648"/>
              <a:gd name="connsiteX4" fmla="*/ 5628521 w 9057521"/>
              <a:gd name="connsiteY4" fmla="*/ 596900 h 802648"/>
              <a:gd name="connsiteX5" fmla="*/ 7152521 w 9057521"/>
              <a:gd name="connsiteY5" fmla="*/ 393700 h 802648"/>
              <a:gd name="connsiteX6" fmla="*/ 8168521 w 9057521"/>
              <a:gd name="connsiteY6" fmla="*/ 190500 h 802648"/>
              <a:gd name="connsiteX7" fmla="*/ 9057521 w 9057521"/>
              <a:gd name="connsiteY7" fmla="*/ 0 h 802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057521" h="802648">
                <a:moveTo>
                  <a:pt x="0" y="762000"/>
                </a:moveTo>
                <a:cubicBezTo>
                  <a:pt x="184150" y="782108"/>
                  <a:pt x="391484" y="781050"/>
                  <a:pt x="777121" y="787400"/>
                </a:cubicBezTo>
                <a:cubicBezTo>
                  <a:pt x="1162758" y="793750"/>
                  <a:pt x="1807938" y="808567"/>
                  <a:pt x="2313821" y="800100"/>
                </a:cubicBezTo>
                <a:cubicBezTo>
                  <a:pt x="2819704" y="791633"/>
                  <a:pt x="3259971" y="770467"/>
                  <a:pt x="3812421" y="736600"/>
                </a:cubicBezTo>
                <a:cubicBezTo>
                  <a:pt x="4364871" y="702733"/>
                  <a:pt x="5071838" y="654050"/>
                  <a:pt x="5628521" y="596900"/>
                </a:cubicBezTo>
                <a:cubicBezTo>
                  <a:pt x="6185204" y="539750"/>
                  <a:pt x="6729188" y="461433"/>
                  <a:pt x="7152521" y="393700"/>
                </a:cubicBezTo>
                <a:cubicBezTo>
                  <a:pt x="7575854" y="325967"/>
                  <a:pt x="8168521" y="190500"/>
                  <a:pt x="8168521" y="190500"/>
                </a:cubicBezTo>
                <a:lnTo>
                  <a:pt x="9057521" y="0"/>
                </a:lnTo>
              </a:path>
            </a:pathLst>
          </a:cu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GB">
              <a:solidFill>
                <a:srgbClr val="655C59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E3D093D4-64E6-354D-8ED2-50A0CE3B054B}" type="datetimeFigureOut">
              <a:rPr lang="en-GB"/>
              <a:pPr/>
              <a:t>17/02/2019</a:t>
            </a:fld>
            <a:endParaRPr lang="en-GB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8D83BEE-D190-7344-A63E-9F728A18810E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0008525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170700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3719493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290448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1098183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05588" y="0"/>
            <a:ext cx="2070100" cy="57943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95288" y="0"/>
            <a:ext cx="6057900" cy="57943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218887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0AE4588-501A-47C2-BB20-D781CAB3F9F5}" type="slidenum">
              <a:rPr lang="en-GB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57200" y="1341439"/>
            <a:ext cx="4043363" cy="4210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200" y="-27384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300152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Bullet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44538" y="502920"/>
            <a:ext cx="7567612" cy="1154927"/>
          </a:xfrm>
        </p:spPr>
        <p:txBody>
          <a:bodyPr/>
          <a:lstStyle>
            <a:lvl1pPr>
              <a:lnSpc>
                <a:spcPts val="4000"/>
              </a:lnSpc>
              <a:defRPr sz="3600">
                <a:solidFill>
                  <a:srgbClr val="5B8F2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40662" y="1945300"/>
            <a:ext cx="7571488" cy="397952"/>
          </a:xfrm>
        </p:spPr>
        <p:txBody>
          <a:bodyPr/>
          <a:lstStyle>
            <a:lvl1pPr marL="0" indent="0">
              <a:lnSpc>
                <a:spcPts val="2100"/>
              </a:lnSpc>
              <a:spcBef>
                <a:spcPts val="0"/>
              </a:spcBef>
              <a:buFontTx/>
              <a:buNone/>
              <a:defRPr sz="2000" b="1" cap="all" baseline="0">
                <a:solidFill>
                  <a:srgbClr val="D7A90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44538" y="2347635"/>
            <a:ext cx="7567612" cy="3592789"/>
          </a:xfrm>
        </p:spPr>
        <p:txBody>
          <a:bodyPr numCol="1">
            <a:noAutofit/>
          </a:bodyPr>
          <a:lstStyle>
            <a:lvl1pPr marL="182880" indent="-182880">
              <a:lnSpc>
                <a:spcPts val="22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Char char="•"/>
              <a:defRPr sz="2000" b="0">
                <a:solidFill>
                  <a:schemeClr val="tx1"/>
                </a:solidFill>
              </a:defRPr>
            </a:lvl1pPr>
            <a:lvl2pPr marL="454025" indent="-182880">
              <a:lnSpc>
                <a:spcPts val="22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Char char="•"/>
              <a:defRPr sz="2000" b="0">
                <a:solidFill>
                  <a:schemeClr val="tx1"/>
                </a:solidFill>
              </a:defRPr>
            </a:lvl2pPr>
            <a:lvl3pPr marL="731520" indent="-182880">
              <a:lnSpc>
                <a:spcPts val="22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Char char="•"/>
              <a:defRPr sz="2000" b="0">
                <a:solidFill>
                  <a:schemeClr val="tx1"/>
                </a:solidFill>
              </a:defRPr>
            </a:lvl3pPr>
            <a:lvl4pPr marL="1005840" indent="-182880">
              <a:lnSpc>
                <a:spcPts val="22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Char char="•"/>
              <a:defRPr sz="2000" b="0">
                <a:solidFill>
                  <a:schemeClr val="tx1"/>
                </a:solidFill>
              </a:defRPr>
            </a:lvl4pPr>
            <a:lvl5pPr marL="1280160" indent="-182880">
              <a:lnSpc>
                <a:spcPts val="22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Char char="•"/>
              <a:defRPr sz="20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39714" y="6286104"/>
            <a:ext cx="378392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3DF1AFCE-D540-41EE-B441-3ED6DEB25CDC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61509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0C4F8F45-D686-4646-887A-7618D24D8619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6380250A-1799-4789-BFCB-CB3E924572E1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F660A2FE-FAD5-4405-AA6E-B4DCA4B0DC6B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fld id="{4059A66A-07D7-4091-B717-CF3D7E069FA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755990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EFAA6CA3-8432-4F19-9417-FBB7622C3D6F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C81F896D-0181-488C-9CB4-C8B855B3552B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DD6B70E8-4C89-4EBA-B400-A3B4CE657936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fld id="{4CF3CD35-2E0D-4B2A-9010-14836189FBC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602195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46B42175-6904-40B0-B325-529495C16E5C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BF605B2B-7E3A-4925-8D09-85057A47BE0D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F970BBEC-4542-4AFE-8558-8E4B6D43ED0E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fld id="{760CDC22-A97C-4DD3-82A8-4B29457E6C7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49816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66700" indent="-266700">
              <a:buSzPct val="100000"/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57200" y="-27384"/>
            <a:ext cx="8229600" cy="11430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63D939A-955A-4C44-BDAE-11879174D764}" type="datetimeFigureOut">
              <a:rPr lang="en-GB"/>
              <a:pPr/>
              <a:t>17/02/2019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DAA162D-D612-4B43-ABDC-1CED5AE99744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3117293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5EB2CA1-76B0-48C7-A32F-0BC42F259D3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8AD41F-2563-4853-860D-33A2E537DF42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6F306A8-871E-47D8-9D55-412AD3F67F34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fld id="{F1B8EE20-C20D-4949-BCE5-8718E06E304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448545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F978D814-1105-4857-A97E-2A77CC3569D9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3D20BC04-30F2-480A-85CE-07E90AEB48BB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E364DBE2-B5A5-4498-828A-C27228477CE2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fld id="{A51EA19A-B79A-4579-98D5-8338A2109E9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782230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166E86BE-6FBC-417F-B27F-B5A5094FD463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E95C5F6D-871A-455A-B695-C368533ABCFB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348AAC20-E52C-4D2D-939B-670F8646A1CF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fld id="{398830BB-7EC4-4D3A-ADF0-3F3F31A6425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99097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>
            <a:extLst>
              <a:ext uri="{FF2B5EF4-FFF2-40B4-BE49-F238E27FC236}">
                <a16:creationId xmlns:a16="http://schemas.microsoft.com/office/drawing/2014/main" id="{67B8CB9F-0153-4B3D-A437-095CD4673B7D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>
            <a:extLst>
              <a:ext uri="{FF2B5EF4-FFF2-40B4-BE49-F238E27FC236}">
                <a16:creationId xmlns:a16="http://schemas.microsoft.com/office/drawing/2014/main" id="{A31B3FCA-F220-46AD-A730-A8167069CF07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D45F00FA-DA4E-4584-B04E-38C9D2E5CCD3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fld id="{2B5E2C29-B77E-40D8-B8E7-0236E56799C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20304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C11A966-E704-42D2-9841-5EAC26C44F82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F7D59E3-A8C6-46C4-90F2-22581C5C0D8D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B414E28-F15F-4582-9A1F-FDD9440E9F42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fld id="{44E74509-CF44-43CB-A5CA-650302E77AA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903301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C24FAC6-F9A0-4CB9-8782-C43E10E77CAC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6C0D7AC-9A1F-4EB7-BBB9-388F387F9D34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3B30A3A-A452-4676-80C3-F66032DFB514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fld id="{9A17DE55-A41F-4446-BF39-54EDFFBF7A2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230590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0301BF4D-E72C-4C86-994D-ABB8D8943B66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4F33EFFC-B076-4381-B833-D982212BFC4D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67E9BED5-524D-41AF-A6FA-6EC731B12974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fld id="{44889D0F-2787-4318-AC77-833D94B0E6D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093824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2FC6AF77-EF39-499F-93DA-62C5E550CC2B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A499434B-4123-4952-9915-75B2C640AA54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8B5140B4-BAFA-42ED-ACA4-FA79CFB7F732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fld id="{6921234F-02CE-4079-B75D-978CD06FD53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729719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85800" y="1981200"/>
            <a:ext cx="7772400" cy="41148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73424BB7-9CC7-465B-9FAF-718046B6EC3C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D588BAB8-CC55-4D45-B003-6D3418E65CA7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9A25085B-547F-47F0-8065-9BAB3DE48BCE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fld id="{0606D3F4-21D6-4CF4-99A2-246E56C210D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40759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685800" y="609600"/>
            <a:ext cx="7772400" cy="5486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9D4ED4AF-68E5-4A4D-9665-9A4976F3B09C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99A6F39B-50BB-4BD6-8592-9105625F17F5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B26B33CF-B4AF-4074-A816-4F674D16392B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fld id="{020599BB-6844-40B4-970B-1C33841E19F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92272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57200" y="1341439"/>
            <a:ext cx="4043363" cy="4210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200" y="-27384"/>
            <a:ext cx="8229600" cy="11430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fld id="{3917D383-C77A-6048-80E5-79F6C6046053}" type="datetimeFigureOut">
              <a:rPr lang="en-GB"/>
              <a:pPr/>
              <a:t>17/02/2019</a:t>
            </a:fld>
            <a:endParaRPr lang="en-GB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10EA4756-2F66-2940-A05C-A214F9545CD6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7430145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10D458F-8D5B-4F94-BA5D-4F6A82B4765B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2FA3254-CDD9-49A1-9B01-81BB723A502B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81A2AE8-D622-4554-8363-BBD2C8B5DD3A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fld id="{1F21A521-AF29-4B8E-8CBB-9698FA6CAB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981632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49866063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6926832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0801903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313" y="1268413"/>
            <a:ext cx="4027487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68413"/>
            <a:ext cx="4027488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5860972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7907286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7074483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9660382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7896440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8150183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1725" y="6092825"/>
            <a:ext cx="1439863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5653088"/>
            <a:ext cx="8243887" cy="871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1725" y="6092825"/>
            <a:ext cx="1439863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reeform 6"/>
          <p:cNvSpPr/>
          <p:nvPr userDrawn="1"/>
        </p:nvSpPr>
        <p:spPr>
          <a:xfrm>
            <a:off x="442913" y="5683250"/>
            <a:ext cx="8269287" cy="803275"/>
          </a:xfrm>
          <a:custGeom>
            <a:avLst/>
            <a:gdLst>
              <a:gd name="connsiteX0" fmla="*/ 0 w 9029700"/>
              <a:gd name="connsiteY0" fmla="*/ 736600 h 803176"/>
              <a:gd name="connsiteX1" fmla="*/ 749300 w 9029700"/>
              <a:gd name="connsiteY1" fmla="*/ 787400 h 803176"/>
              <a:gd name="connsiteX2" fmla="*/ 2286000 w 9029700"/>
              <a:gd name="connsiteY2" fmla="*/ 800100 h 803176"/>
              <a:gd name="connsiteX3" fmla="*/ 3784600 w 9029700"/>
              <a:gd name="connsiteY3" fmla="*/ 736600 h 803176"/>
              <a:gd name="connsiteX4" fmla="*/ 5600700 w 9029700"/>
              <a:gd name="connsiteY4" fmla="*/ 596900 h 803176"/>
              <a:gd name="connsiteX5" fmla="*/ 7124700 w 9029700"/>
              <a:gd name="connsiteY5" fmla="*/ 393700 h 803176"/>
              <a:gd name="connsiteX6" fmla="*/ 8140700 w 9029700"/>
              <a:gd name="connsiteY6" fmla="*/ 190500 h 803176"/>
              <a:gd name="connsiteX7" fmla="*/ 9029700 w 9029700"/>
              <a:gd name="connsiteY7" fmla="*/ 0 h 803176"/>
              <a:gd name="connsiteX0" fmla="*/ 0 w 9029700"/>
              <a:gd name="connsiteY0" fmla="*/ 800100 h 806621"/>
              <a:gd name="connsiteX1" fmla="*/ 749300 w 9029700"/>
              <a:gd name="connsiteY1" fmla="*/ 787400 h 806621"/>
              <a:gd name="connsiteX2" fmla="*/ 2286000 w 9029700"/>
              <a:gd name="connsiteY2" fmla="*/ 800100 h 806621"/>
              <a:gd name="connsiteX3" fmla="*/ 3784600 w 9029700"/>
              <a:gd name="connsiteY3" fmla="*/ 736600 h 806621"/>
              <a:gd name="connsiteX4" fmla="*/ 5600700 w 9029700"/>
              <a:gd name="connsiteY4" fmla="*/ 596900 h 806621"/>
              <a:gd name="connsiteX5" fmla="*/ 7124700 w 9029700"/>
              <a:gd name="connsiteY5" fmla="*/ 393700 h 806621"/>
              <a:gd name="connsiteX6" fmla="*/ 8140700 w 9029700"/>
              <a:gd name="connsiteY6" fmla="*/ 190500 h 806621"/>
              <a:gd name="connsiteX7" fmla="*/ 9029700 w 9029700"/>
              <a:gd name="connsiteY7" fmla="*/ 0 h 806621"/>
              <a:gd name="connsiteX0" fmla="*/ 0 w 9057521"/>
              <a:gd name="connsiteY0" fmla="*/ 762000 h 802648"/>
              <a:gd name="connsiteX1" fmla="*/ 777121 w 9057521"/>
              <a:gd name="connsiteY1" fmla="*/ 787400 h 802648"/>
              <a:gd name="connsiteX2" fmla="*/ 2313821 w 9057521"/>
              <a:gd name="connsiteY2" fmla="*/ 800100 h 802648"/>
              <a:gd name="connsiteX3" fmla="*/ 3812421 w 9057521"/>
              <a:gd name="connsiteY3" fmla="*/ 736600 h 802648"/>
              <a:gd name="connsiteX4" fmla="*/ 5628521 w 9057521"/>
              <a:gd name="connsiteY4" fmla="*/ 596900 h 802648"/>
              <a:gd name="connsiteX5" fmla="*/ 7152521 w 9057521"/>
              <a:gd name="connsiteY5" fmla="*/ 393700 h 802648"/>
              <a:gd name="connsiteX6" fmla="*/ 8168521 w 9057521"/>
              <a:gd name="connsiteY6" fmla="*/ 190500 h 802648"/>
              <a:gd name="connsiteX7" fmla="*/ 9057521 w 9057521"/>
              <a:gd name="connsiteY7" fmla="*/ 0 h 802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057521" h="802648">
                <a:moveTo>
                  <a:pt x="0" y="762000"/>
                </a:moveTo>
                <a:cubicBezTo>
                  <a:pt x="184150" y="782108"/>
                  <a:pt x="391484" y="781050"/>
                  <a:pt x="777121" y="787400"/>
                </a:cubicBezTo>
                <a:cubicBezTo>
                  <a:pt x="1162758" y="793750"/>
                  <a:pt x="1807938" y="808567"/>
                  <a:pt x="2313821" y="800100"/>
                </a:cubicBezTo>
                <a:cubicBezTo>
                  <a:pt x="2819704" y="791633"/>
                  <a:pt x="3259971" y="770467"/>
                  <a:pt x="3812421" y="736600"/>
                </a:cubicBezTo>
                <a:cubicBezTo>
                  <a:pt x="4364871" y="702733"/>
                  <a:pt x="5071838" y="654050"/>
                  <a:pt x="5628521" y="596900"/>
                </a:cubicBezTo>
                <a:cubicBezTo>
                  <a:pt x="6185204" y="539750"/>
                  <a:pt x="6729188" y="461433"/>
                  <a:pt x="7152521" y="393700"/>
                </a:cubicBezTo>
                <a:cubicBezTo>
                  <a:pt x="7575854" y="325967"/>
                  <a:pt x="8168521" y="190500"/>
                  <a:pt x="8168521" y="190500"/>
                </a:cubicBezTo>
                <a:lnTo>
                  <a:pt x="9057521" y="0"/>
                </a:lnTo>
              </a:path>
            </a:pathLst>
          </a:cu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GB">
              <a:solidFill>
                <a:srgbClr val="655C59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065091"/>
            <a:ext cx="7772400" cy="1362075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2800" b="1" cap="none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564904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1EE47D9-E620-0642-BC19-8BCEBCE2D34A}" type="datetimeFigureOut">
              <a:rPr lang="en-GB"/>
              <a:pPr/>
              <a:t>17/02/2019</a:t>
            </a:fld>
            <a:endParaRPr lang="en-GB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6DED19A-90D4-7048-88E8-C7B7F958DF92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0184327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5146509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05588" y="0"/>
            <a:ext cx="2070100" cy="57943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95288" y="0"/>
            <a:ext cx="6057900" cy="57943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7896124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41438"/>
            <a:ext cx="4038600" cy="4247803"/>
          </a:xfrm>
        </p:spPr>
        <p:txBody>
          <a:bodyPr/>
          <a:lstStyle>
            <a:lvl1pPr marL="266700" indent="-266700">
              <a:buSzPct val="100000"/>
              <a:buFontTx/>
              <a:buBlip>
                <a:blip r:embed="rId2"/>
              </a:buBlip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41438"/>
            <a:ext cx="4038600" cy="4247803"/>
          </a:xfrm>
        </p:spPr>
        <p:txBody>
          <a:bodyPr/>
          <a:lstStyle>
            <a:lvl1pPr marL="266700" indent="-266700">
              <a:buSzPct val="100000"/>
              <a:buFontTx/>
              <a:buBlip>
                <a:blip r:embed="rId2"/>
              </a:buBlip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  <a:lvl5pPr>
              <a:defRPr sz="18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57200" y="-27384"/>
            <a:ext cx="8229600" cy="11430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DE9E74BF-C8FF-A843-953A-CC6A053B48DD}" type="datetimeFigureOut">
              <a:rPr lang="en-GB"/>
              <a:pPr/>
              <a:t>17/02/2019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9676F9E-BB30-7941-940E-523A8BAE5836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2545402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414365"/>
          </a:xfrm>
        </p:spPr>
        <p:txBody>
          <a:bodyPr/>
          <a:lstStyle>
            <a:lvl1pPr marL="273050" indent="-273050"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414365"/>
          </a:xfrm>
        </p:spPr>
        <p:txBody>
          <a:bodyPr/>
          <a:lstStyle>
            <a:lvl1pPr marL="450850" indent="-450850">
              <a:defRPr lang="en-US" sz="2000" kern="1200" dirty="0" smtClean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57200" y="-27384"/>
            <a:ext cx="8229600" cy="11430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6E8829FE-1B42-C84E-AB0E-F65229B34353}" type="datetimeFigureOut">
              <a:rPr lang="en-GB"/>
              <a:pPr/>
              <a:t>17/02/2019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500FBBD-CC72-064D-8E50-7E4DB49877CC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5529813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57200" y="-27384"/>
            <a:ext cx="8229600" cy="11430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1247794-9125-E44D-B1E1-F6C092AD0956}" type="datetimeFigureOut">
              <a:rPr lang="en-GB"/>
              <a:pPr/>
              <a:t>17/02/2019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C030C31-6CD1-6744-B955-71741A5DDC0B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9580071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1725" y="6092825"/>
            <a:ext cx="1439863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1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5653088"/>
            <a:ext cx="8243887" cy="871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1725" y="6092825"/>
            <a:ext cx="1439863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reeform 4"/>
          <p:cNvSpPr/>
          <p:nvPr userDrawn="1"/>
        </p:nvSpPr>
        <p:spPr>
          <a:xfrm>
            <a:off x="442913" y="5683250"/>
            <a:ext cx="8269287" cy="803275"/>
          </a:xfrm>
          <a:custGeom>
            <a:avLst/>
            <a:gdLst>
              <a:gd name="connsiteX0" fmla="*/ 0 w 9029700"/>
              <a:gd name="connsiteY0" fmla="*/ 736600 h 803176"/>
              <a:gd name="connsiteX1" fmla="*/ 749300 w 9029700"/>
              <a:gd name="connsiteY1" fmla="*/ 787400 h 803176"/>
              <a:gd name="connsiteX2" fmla="*/ 2286000 w 9029700"/>
              <a:gd name="connsiteY2" fmla="*/ 800100 h 803176"/>
              <a:gd name="connsiteX3" fmla="*/ 3784600 w 9029700"/>
              <a:gd name="connsiteY3" fmla="*/ 736600 h 803176"/>
              <a:gd name="connsiteX4" fmla="*/ 5600700 w 9029700"/>
              <a:gd name="connsiteY4" fmla="*/ 596900 h 803176"/>
              <a:gd name="connsiteX5" fmla="*/ 7124700 w 9029700"/>
              <a:gd name="connsiteY5" fmla="*/ 393700 h 803176"/>
              <a:gd name="connsiteX6" fmla="*/ 8140700 w 9029700"/>
              <a:gd name="connsiteY6" fmla="*/ 190500 h 803176"/>
              <a:gd name="connsiteX7" fmla="*/ 9029700 w 9029700"/>
              <a:gd name="connsiteY7" fmla="*/ 0 h 803176"/>
              <a:gd name="connsiteX0" fmla="*/ 0 w 9029700"/>
              <a:gd name="connsiteY0" fmla="*/ 800100 h 806621"/>
              <a:gd name="connsiteX1" fmla="*/ 749300 w 9029700"/>
              <a:gd name="connsiteY1" fmla="*/ 787400 h 806621"/>
              <a:gd name="connsiteX2" fmla="*/ 2286000 w 9029700"/>
              <a:gd name="connsiteY2" fmla="*/ 800100 h 806621"/>
              <a:gd name="connsiteX3" fmla="*/ 3784600 w 9029700"/>
              <a:gd name="connsiteY3" fmla="*/ 736600 h 806621"/>
              <a:gd name="connsiteX4" fmla="*/ 5600700 w 9029700"/>
              <a:gd name="connsiteY4" fmla="*/ 596900 h 806621"/>
              <a:gd name="connsiteX5" fmla="*/ 7124700 w 9029700"/>
              <a:gd name="connsiteY5" fmla="*/ 393700 h 806621"/>
              <a:gd name="connsiteX6" fmla="*/ 8140700 w 9029700"/>
              <a:gd name="connsiteY6" fmla="*/ 190500 h 806621"/>
              <a:gd name="connsiteX7" fmla="*/ 9029700 w 9029700"/>
              <a:gd name="connsiteY7" fmla="*/ 0 h 806621"/>
              <a:gd name="connsiteX0" fmla="*/ 0 w 9057521"/>
              <a:gd name="connsiteY0" fmla="*/ 762000 h 802648"/>
              <a:gd name="connsiteX1" fmla="*/ 777121 w 9057521"/>
              <a:gd name="connsiteY1" fmla="*/ 787400 h 802648"/>
              <a:gd name="connsiteX2" fmla="*/ 2313821 w 9057521"/>
              <a:gd name="connsiteY2" fmla="*/ 800100 h 802648"/>
              <a:gd name="connsiteX3" fmla="*/ 3812421 w 9057521"/>
              <a:gd name="connsiteY3" fmla="*/ 736600 h 802648"/>
              <a:gd name="connsiteX4" fmla="*/ 5628521 w 9057521"/>
              <a:gd name="connsiteY4" fmla="*/ 596900 h 802648"/>
              <a:gd name="connsiteX5" fmla="*/ 7152521 w 9057521"/>
              <a:gd name="connsiteY5" fmla="*/ 393700 h 802648"/>
              <a:gd name="connsiteX6" fmla="*/ 8168521 w 9057521"/>
              <a:gd name="connsiteY6" fmla="*/ 190500 h 802648"/>
              <a:gd name="connsiteX7" fmla="*/ 9057521 w 9057521"/>
              <a:gd name="connsiteY7" fmla="*/ 0 h 802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057521" h="802648">
                <a:moveTo>
                  <a:pt x="0" y="762000"/>
                </a:moveTo>
                <a:cubicBezTo>
                  <a:pt x="184150" y="782108"/>
                  <a:pt x="391484" y="781050"/>
                  <a:pt x="777121" y="787400"/>
                </a:cubicBezTo>
                <a:cubicBezTo>
                  <a:pt x="1162758" y="793750"/>
                  <a:pt x="1807938" y="808567"/>
                  <a:pt x="2313821" y="800100"/>
                </a:cubicBezTo>
                <a:cubicBezTo>
                  <a:pt x="2819704" y="791633"/>
                  <a:pt x="3259971" y="770467"/>
                  <a:pt x="3812421" y="736600"/>
                </a:cubicBezTo>
                <a:cubicBezTo>
                  <a:pt x="4364871" y="702733"/>
                  <a:pt x="5071838" y="654050"/>
                  <a:pt x="5628521" y="596900"/>
                </a:cubicBezTo>
                <a:cubicBezTo>
                  <a:pt x="6185204" y="539750"/>
                  <a:pt x="6729188" y="461433"/>
                  <a:pt x="7152521" y="393700"/>
                </a:cubicBezTo>
                <a:cubicBezTo>
                  <a:pt x="7575854" y="325967"/>
                  <a:pt x="8168521" y="190500"/>
                  <a:pt x="8168521" y="190500"/>
                </a:cubicBezTo>
                <a:lnTo>
                  <a:pt x="9057521" y="0"/>
                </a:lnTo>
              </a:path>
            </a:pathLst>
          </a:cu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GB">
              <a:solidFill>
                <a:srgbClr val="655C59"/>
              </a:solidFill>
            </a:endParaRP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361608E-0CBA-8246-A28A-B612B2F56213}" type="datetimeFigureOut">
              <a:rPr lang="en-GB"/>
              <a:pPr/>
              <a:t>17/02/2019</a:t>
            </a:fld>
            <a:endParaRPr lang="en-GB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Tahoma" pitchFamily="34" charset="0"/>
                <a:ea typeface="MS PGothic" pitchFamily="34" charset="-128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4825831-1778-E64A-809C-7690F98918CA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8163785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7.jpe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image" Target="../media/image7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341438"/>
            <a:ext cx="8229600" cy="424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9F9C9A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387E40E-29C2-A446-8BB2-73C77684870C}" type="datetimeFigureOut">
              <a:rPr lang="en-GB">
                <a:ea typeface="MS PGothic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7/02/2019</a:t>
            </a:fld>
            <a:endParaRPr lang="en-GB">
              <a:ea typeface="MS PGothic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655C59">
                    <a:tint val="75000"/>
                  </a:srgbClr>
                </a:solidFill>
                <a:latin typeface="Tahoma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9F9C9A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FB4057BC-DBB1-5E40-8C91-43D2949B321B}" type="slidenum">
              <a:rPr lang="en-GB">
                <a:ea typeface="MS PGothic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>
              <a:ea typeface="MS PGothic" charset="0"/>
            </a:endParaRPr>
          </a:p>
        </p:txBody>
      </p:sp>
      <p:pic>
        <p:nvPicPr>
          <p:cNvPr id="3078" name="Picture 8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1725" y="6092825"/>
            <a:ext cx="1439863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9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-26988"/>
            <a:ext cx="8229600" cy="1143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3080" name="Picture 1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5653088"/>
            <a:ext cx="8243887" cy="871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1" name="Picture 7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779463"/>
            <a:ext cx="8278812" cy="5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001430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 kern="1200">
          <a:solidFill>
            <a:schemeClr val="tx2"/>
          </a:solidFill>
          <a:latin typeface="Tahoma" pitchFamily="34" charset="0"/>
          <a:ea typeface="MS PGothic" pitchFamily="34" charset="-128"/>
          <a:cs typeface="Tahoma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ahoma" pitchFamily="34" charset="0"/>
          <a:ea typeface="MS PGothic" pitchFamily="34" charset="-128"/>
          <a:cs typeface="Tahom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ahoma" pitchFamily="34" charset="0"/>
          <a:ea typeface="MS PGothic" pitchFamily="34" charset="-128"/>
          <a:cs typeface="Tahom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ahoma" pitchFamily="34" charset="0"/>
          <a:ea typeface="MS PGothic" pitchFamily="34" charset="-128"/>
          <a:cs typeface="Tahom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ahoma" pitchFamily="34" charset="0"/>
          <a:ea typeface="MS PGothic" pitchFamily="34" charset="-128"/>
          <a:cs typeface="Tahom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ahoma" pitchFamily="34" charset="0"/>
          <a:cs typeface="Tahom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ahoma" pitchFamily="34" charset="0"/>
          <a:cs typeface="Tahom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ahoma" pitchFamily="34" charset="0"/>
          <a:cs typeface="Tahom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Tahoma" pitchFamily="34" charset="0"/>
          <a:cs typeface="Tahoma" pitchFamily="34" charset="0"/>
        </a:defRPr>
      </a:lvl9pPr>
    </p:titleStyle>
    <p:bodyStyle>
      <a:lvl1pPr marL="266700" indent="-266700" algn="l" rtl="0" eaLnBrk="0" fontAlgn="base" hangingPunct="0">
        <a:spcBef>
          <a:spcPct val="20000"/>
        </a:spcBef>
        <a:spcAft>
          <a:spcPct val="0"/>
        </a:spcAft>
        <a:buSzPct val="100000"/>
        <a:buBlip>
          <a:blip r:embed="rId18"/>
        </a:buBlip>
        <a:defRPr sz="2000" kern="1200">
          <a:solidFill>
            <a:schemeClr val="tx1"/>
          </a:solidFill>
          <a:latin typeface="Tahoma" pitchFamily="34" charset="0"/>
          <a:ea typeface="MS PGothic" pitchFamily="34" charset="-128"/>
          <a:cs typeface="Tahoma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445125"/>
            <a:ext cx="9144000" cy="879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</p:pic>
      <p:sp>
        <p:nvSpPr>
          <p:cNvPr id="2051" name="Rectangle 3"/>
          <p:cNvSpPr>
            <a:spLocks noChangeArrowheads="1"/>
          </p:cNvSpPr>
          <p:nvPr userDrawn="1"/>
        </p:nvSpPr>
        <p:spPr bwMode="auto">
          <a:xfrm>
            <a:off x="0" y="871538"/>
            <a:ext cx="9144000" cy="36512"/>
          </a:xfrm>
          <a:prstGeom prst="rect">
            <a:avLst/>
          </a:prstGeom>
          <a:solidFill>
            <a:srgbClr val="73AE2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339933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srgbClr val="000000"/>
              </a:solidFill>
              <a:ea typeface="MS PGothic" charset="0"/>
            </a:endParaRP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0"/>
            <a:ext cx="8229600" cy="836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06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xxxxxxxxxxxxxxx</a:t>
            </a:r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268413"/>
            <a:ext cx="8207375" cy="4525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06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xxxxxxxxxxxxxxxxx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054" name="Picture 6" descr="Volac logo with protected space"/>
          <p:cNvPicPr>
            <a:picLocks noChangeAspect="1" noChangeArrowheads="1"/>
          </p:cNvPicPr>
          <p:nvPr userDrawn="1"/>
        </p:nvPicPr>
        <p:blipFill>
          <a:blip r:embed="rId16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3125" y="5805488"/>
            <a:ext cx="1920875" cy="957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28167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73AE2F"/>
          </a:solidFill>
          <a:latin typeface="+mj-lt"/>
          <a:ea typeface="MS PGothic" pitchFamily="34" charset="-128"/>
          <a:cs typeface="MS PGothic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73AE2F"/>
          </a:solidFill>
          <a:latin typeface="Tahoma" charset="0"/>
          <a:ea typeface="MS PGothic" pitchFamily="34" charset="-128"/>
          <a:cs typeface="MS PGothic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73AE2F"/>
          </a:solidFill>
          <a:latin typeface="Tahoma" charset="0"/>
          <a:ea typeface="MS PGothic" pitchFamily="34" charset="-128"/>
          <a:cs typeface="MS PGothic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73AE2F"/>
          </a:solidFill>
          <a:latin typeface="Tahoma" charset="0"/>
          <a:ea typeface="MS PGothic" pitchFamily="34" charset="-128"/>
          <a:cs typeface="MS PGothic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73AE2F"/>
          </a:solidFill>
          <a:latin typeface="Tahoma" charset="0"/>
          <a:ea typeface="MS PGothic" pitchFamily="34" charset="-128"/>
          <a:cs typeface="MS PGothic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rgbClr val="73AE2F"/>
          </a:solidFill>
          <a:latin typeface="Tahoma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rgbClr val="73AE2F"/>
          </a:solidFill>
          <a:latin typeface="Tahoma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rgbClr val="73AE2F"/>
          </a:solidFill>
          <a:latin typeface="Tahoma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rgbClr val="73AE2F"/>
          </a:solidFill>
          <a:latin typeface="Tahoma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0F0F3A"/>
            </a:gs>
            <a:gs pos="100000">
              <a:srgbClr val="28289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>
            <a:extLst>
              <a:ext uri="{FF2B5EF4-FFF2-40B4-BE49-F238E27FC236}">
                <a16:creationId xmlns:a16="http://schemas.microsoft.com/office/drawing/2014/main" id="{1585402C-15C9-4031-8B33-7B6EEAC71A5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2051" name="Rectangle 3">
            <a:extLst>
              <a:ext uri="{FF2B5EF4-FFF2-40B4-BE49-F238E27FC236}">
                <a16:creationId xmlns:a16="http://schemas.microsoft.com/office/drawing/2014/main" id="{92CF80DC-5C46-4218-8112-5117F3AD88A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028" name="Rectangle 4">
            <a:extLst>
              <a:ext uri="{FF2B5EF4-FFF2-40B4-BE49-F238E27FC236}">
                <a16:creationId xmlns:a16="http://schemas.microsoft.com/office/drawing/2014/main" id="{B88AEE49-B2A2-48E7-9C8F-5861319FD9C2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400" b="0" i="0">
                <a:solidFill>
                  <a:srgbClr val="000000"/>
                </a:solidFill>
                <a:effectLst/>
                <a:latin typeface="+mn-lt"/>
                <a:ea typeface="MS PGothic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9" name="Rectangle 5">
            <a:extLst>
              <a:ext uri="{FF2B5EF4-FFF2-40B4-BE49-F238E27FC236}">
                <a16:creationId xmlns:a16="http://schemas.microsoft.com/office/drawing/2014/main" id="{1C9BD1B2-D28A-4E36-B537-47E41528C9C4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1400" b="0" i="0">
                <a:solidFill>
                  <a:srgbClr val="000000"/>
                </a:solidFill>
                <a:effectLst/>
                <a:latin typeface="+mn-lt"/>
                <a:ea typeface="MS PGothic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30" name="Rectangle 6">
            <a:extLst>
              <a:ext uri="{FF2B5EF4-FFF2-40B4-BE49-F238E27FC236}">
                <a16:creationId xmlns:a16="http://schemas.microsoft.com/office/drawing/2014/main" id="{CB9C9ADA-B0CA-4658-865F-2797203CFA64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400" b="0" i="0">
                <a:solidFill>
                  <a:srgbClr val="000000"/>
                </a:solidFill>
                <a:effectLst/>
                <a:latin typeface="+mn-lt"/>
                <a:ea typeface="MS PGothic" charset="0"/>
                <a:cs typeface="+mn-cs"/>
              </a:defRPr>
            </a:lvl1pPr>
          </a:lstStyle>
          <a:p>
            <a:pPr>
              <a:defRPr/>
            </a:pPr>
            <a:fld id="{1FAFADF0-C6F9-4691-8AF7-2456B0330B0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1252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imes New Roman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imes New Roman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imes New Roman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imes New Roman" pitchFamily="18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imes New Roman" pitchFamily="18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imes New Roman" pitchFamily="18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imes New Roman" pitchFamily="18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imes New Roman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445125"/>
            <a:ext cx="9144000" cy="879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</p:pic>
      <p:sp>
        <p:nvSpPr>
          <p:cNvPr id="2051" name="Rectangle 3"/>
          <p:cNvSpPr>
            <a:spLocks noChangeArrowheads="1"/>
          </p:cNvSpPr>
          <p:nvPr userDrawn="1"/>
        </p:nvSpPr>
        <p:spPr bwMode="auto">
          <a:xfrm>
            <a:off x="0" y="871538"/>
            <a:ext cx="9144000" cy="36512"/>
          </a:xfrm>
          <a:prstGeom prst="rect">
            <a:avLst/>
          </a:prstGeom>
          <a:solidFill>
            <a:srgbClr val="73AE2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339933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GB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0"/>
            <a:ext cx="8229600" cy="836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06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xxxxxxxxxxxxxxx</a:t>
            </a:r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268413"/>
            <a:ext cx="8207375" cy="4525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06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xxxxxxxxxxxxxxxxx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054" name="Picture 6" descr="Volac logo with protected space"/>
          <p:cNvPicPr>
            <a:picLocks noChangeAspect="1" noChangeArrowheads="1"/>
          </p:cNvPicPr>
          <p:nvPr userDrawn="1"/>
        </p:nvPicPr>
        <p:blipFill>
          <a:blip r:embed="rId14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3125" y="5805488"/>
            <a:ext cx="1920875" cy="957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46345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73AE2F"/>
          </a:solidFill>
          <a:latin typeface="+mj-lt"/>
          <a:ea typeface="MS PGothic" pitchFamily="34" charset="-128"/>
          <a:cs typeface="MS PGothic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73AE2F"/>
          </a:solidFill>
          <a:latin typeface="Tahoma" charset="0"/>
          <a:ea typeface="MS PGothic" pitchFamily="34" charset="-128"/>
          <a:cs typeface="MS PGothic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73AE2F"/>
          </a:solidFill>
          <a:latin typeface="Tahoma" charset="0"/>
          <a:ea typeface="MS PGothic" pitchFamily="34" charset="-128"/>
          <a:cs typeface="MS PGothic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73AE2F"/>
          </a:solidFill>
          <a:latin typeface="Tahoma" charset="0"/>
          <a:ea typeface="MS PGothic" pitchFamily="34" charset="-128"/>
          <a:cs typeface="MS PGothic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73AE2F"/>
          </a:solidFill>
          <a:latin typeface="Tahoma" charset="0"/>
          <a:ea typeface="MS PGothic" pitchFamily="34" charset="-128"/>
          <a:cs typeface="MS PGothic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rgbClr val="73AE2F"/>
          </a:solidFill>
          <a:latin typeface="Tahoma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rgbClr val="73AE2F"/>
          </a:solidFill>
          <a:latin typeface="Tahoma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rgbClr val="73AE2F"/>
          </a:solidFill>
          <a:latin typeface="Tahoma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rgbClr val="73AE2F"/>
          </a:solidFill>
          <a:latin typeface="Tahoma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7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0.em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4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image" Target="../media/image28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7.emf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30.emf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29.emf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9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1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9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1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emf"/><Relationship Id="rId1" Type="http://schemas.openxmlformats.org/officeDocument/2006/relationships/slideLayout" Target="../slideLayouts/slideLayout1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chart" Target="../charts/char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9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1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emf"/><Relationship Id="rId1" Type="http://schemas.openxmlformats.org/officeDocument/2006/relationships/slideLayout" Target="../slideLayouts/slideLayout1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emf"/><Relationship Id="rId1" Type="http://schemas.openxmlformats.org/officeDocument/2006/relationships/slideLayout" Target="../slideLayouts/slideLayout1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3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5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5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5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tif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53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391" y="1867665"/>
            <a:ext cx="8229600" cy="2736304"/>
          </a:xfrm>
        </p:spPr>
        <p:txBody>
          <a:bodyPr>
            <a:normAutofit fontScale="90000"/>
          </a:bodyPr>
          <a:lstStyle/>
          <a:p>
            <a:pPr algn="ctr">
              <a:spcAft>
                <a:spcPts val="1200"/>
              </a:spcAft>
            </a:pPr>
            <a:r>
              <a:rPr lang="cs-CZ" sz="3100" dirty="0">
                <a:effectLst>
                  <a:glow rad="63500">
                    <a:schemeClr val="accent4">
                      <a:satMod val="175000"/>
                      <a:alpha val="40000"/>
                    </a:schemeClr>
                  </a:glow>
                </a:effectLst>
              </a:rPr>
              <a:t>Hlubší pohled na nutriční hodnotu mléčných náhražek pro telata</a:t>
            </a:r>
            <a:br>
              <a:rPr lang="en-US" sz="3100" dirty="0">
                <a:effectLst>
                  <a:glow rad="63500">
                    <a:schemeClr val="accent4">
                      <a:satMod val="175000"/>
                      <a:alpha val="40000"/>
                    </a:schemeClr>
                  </a:glow>
                </a:effectLst>
              </a:rPr>
            </a:br>
            <a:br>
              <a:rPr lang="en-US" sz="3100" dirty="0">
                <a:effectLst>
                  <a:glow rad="63500">
                    <a:schemeClr val="accent4">
                      <a:satMod val="175000"/>
                      <a:alpha val="40000"/>
                    </a:schemeClr>
                  </a:glow>
                </a:effectLst>
              </a:rPr>
            </a:br>
            <a:r>
              <a:rPr lang="en-US" sz="3100" dirty="0">
                <a:effectLst>
                  <a:glow rad="63500">
                    <a:schemeClr val="accent4">
                      <a:satMod val="175000"/>
                      <a:alpha val="40000"/>
                    </a:schemeClr>
                  </a:glow>
                </a:effectLst>
              </a:rPr>
              <a:t>John Newbold</a:t>
            </a:r>
            <a:br>
              <a:rPr lang="en-US" sz="3100" dirty="0">
                <a:effectLst>
                  <a:glow rad="63500">
                    <a:schemeClr val="accent4">
                      <a:satMod val="175000"/>
                      <a:alpha val="40000"/>
                    </a:schemeClr>
                  </a:glow>
                </a:effectLst>
              </a:rPr>
            </a:br>
            <a:r>
              <a:rPr lang="en-US" sz="3100" dirty="0" err="1">
                <a:effectLst>
                  <a:glow rad="63500">
                    <a:schemeClr val="accent4">
                      <a:satMod val="175000"/>
                      <a:alpha val="40000"/>
                    </a:schemeClr>
                  </a:glow>
                </a:effectLst>
              </a:rPr>
              <a:t>Volac</a:t>
            </a:r>
            <a:r>
              <a:rPr lang="en-US" sz="3100" dirty="0">
                <a:effectLst>
                  <a:glow rad="63500">
                    <a:schemeClr val="accent4">
                      <a:satMod val="175000"/>
                      <a:alpha val="40000"/>
                    </a:schemeClr>
                  </a:glow>
                </a:effectLst>
              </a:rPr>
              <a:t> International Ltd.</a:t>
            </a:r>
            <a:br>
              <a:rPr lang="en-US" sz="3100" dirty="0">
                <a:effectLst>
                  <a:glow rad="63500">
                    <a:schemeClr val="accent4">
                      <a:satMod val="175000"/>
                      <a:alpha val="40000"/>
                    </a:schemeClr>
                  </a:glow>
                </a:effectLst>
              </a:rPr>
            </a:br>
            <a:r>
              <a:rPr lang="en-US" sz="3100" dirty="0">
                <a:effectLst>
                  <a:glow rad="63500">
                    <a:schemeClr val="accent4">
                      <a:satMod val="175000"/>
                      <a:alpha val="40000"/>
                    </a:schemeClr>
                  </a:glow>
                </a:effectLst>
              </a:rPr>
              <a:t>31</a:t>
            </a:r>
            <a:r>
              <a:rPr lang="cs-CZ" sz="3100" dirty="0">
                <a:effectLst>
                  <a:glow rad="63500">
                    <a:schemeClr val="accent4">
                      <a:satMod val="175000"/>
                      <a:alpha val="40000"/>
                    </a:schemeClr>
                  </a:glow>
                </a:effectLst>
              </a:rPr>
              <a:t>. ledna 2019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052106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B9580DF-B9E2-4240-B3E8-3CD01E11F5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sz="1800" dirty="0"/>
              <a:t>Tradiční </a:t>
            </a:r>
            <a:r>
              <a:rPr lang="cs-CZ" sz="1800" dirty="0" err="1"/>
              <a:t>výživářský</a:t>
            </a:r>
            <a:r>
              <a:rPr lang="cs-CZ" sz="1800" dirty="0"/>
              <a:t> pohled</a:t>
            </a:r>
            <a:r>
              <a:rPr lang="en-GB" sz="1800" dirty="0"/>
              <a:t>: </a:t>
            </a:r>
            <a:r>
              <a:rPr lang="cs-CZ" sz="1800" dirty="0"/>
              <a:t>bílkoviny poskytují stravitelné aminokyseliny, které jsou absorbovány a využity jako stavební kameny pro tělesné bílkoviny, například bílkoviny svalové tkáně.</a:t>
            </a:r>
            <a:endParaRPr lang="en-GB" sz="1800" dirty="0"/>
          </a:p>
          <a:p>
            <a:endParaRPr lang="en-GB" sz="1800" dirty="0"/>
          </a:p>
          <a:p>
            <a:r>
              <a:rPr lang="cs-CZ" sz="1800" dirty="0"/>
              <a:t>Dobře známá koncepce „první limitující aminokyseliny“</a:t>
            </a:r>
            <a:endParaRPr lang="en-GB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1082483-8113-4651-AFA7-CB9DED2C4D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travitelné aminokyseliny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E15C875-849A-4519-B4FF-D9F977C81A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4464" y="3253048"/>
            <a:ext cx="3593868" cy="212251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1C56E9F-CC33-4101-81EE-F581AD2DE475}"/>
              </a:ext>
            </a:extLst>
          </p:cNvPr>
          <p:cNvSpPr txBox="1"/>
          <p:nvPr/>
        </p:nvSpPr>
        <p:spPr>
          <a:xfrm>
            <a:off x="4366954" y="3253048"/>
            <a:ext cx="4045526" cy="246221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cs-CZ" sz="1400" dirty="0"/>
              <a:t>Krmné dávky pro prasata jsou běžně optimalizovány na lysin a pak na další aminokyseliny ve vztahu k lysinu.</a:t>
            </a:r>
            <a:endParaRPr lang="en-GB" sz="1400" dirty="0"/>
          </a:p>
          <a:p>
            <a:endParaRPr lang="en-GB" sz="1400" dirty="0"/>
          </a:p>
          <a:p>
            <a:r>
              <a:rPr lang="cs-CZ" sz="1400" dirty="0"/>
              <a:t>„I když pořadí limitujících aminokyselin se může lišit u směsí s různými komponenty, nejčastěji jsou prvními limitujícími kyselinami většiny krmných směsí používaných v praxi lysin, threonin, methionin, tryptofan a valin.“</a:t>
            </a:r>
            <a:endParaRPr lang="en-US" sz="1400" dirty="0"/>
          </a:p>
          <a:p>
            <a:r>
              <a:rPr lang="en-US" sz="1400" dirty="0" err="1"/>
              <a:t>Tokach</a:t>
            </a:r>
            <a:r>
              <a:rPr lang="en-US" sz="1400" dirty="0"/>
              <a:t> et al. (2012) Kansas State Univ.</a:t>
            </a:r>
            <a:r>
              <a:rPr lang="cs-CZ" sz="1400" dirty="0"/>
              <a:t>, konference</a:t>
            </a:r>
            <a:r>
              <a:rPr lang="en-US" sz="1400" dirty="0"/>
              <a:t> Swine Profitability</a:t>
            </a:r>
            <a:endParaRPr lang="en-GB" sz="14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5E5AAD4-BB5F-4B29-B76A-47947575E618}"/>
              </a:ext>
            </a:extLst>
          </p:cNvPr>
          <p:cNvSpPr txBox="1"/>
          <p:nvPr/>
        </p:nvSpPr>
        <p:spPr>
          <a:xfrm>
            <a:off x="3294494" y="5815410"/>
            <a:ext cx="1378904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/>
              <a:t>A co telata?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47976626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en-US" sz="2400" dirty="0"/>
              <a:t>Aminokyseliny</a:t>
            </a:r>
            <a:r>
              <a:rPr lang="en-GB" altLang="en-US" sz="2400" dirty="0"/>
              <a:t>: LYS a MET</a:t>
            </a:r>
          </a:p>
        </p:txBody>
      </p: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0" y="6442075"/>
            <a:ext cx="4392613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Hill et al. (2008) J. Dairy Sci. 91:2433–2442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795116" y="4178345"/>
            <a:ext cx="3521075" cy="116955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Optimální poměr v kvalitní mléčné náhražce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55.0g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NL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/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cal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ME (=27%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NL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,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17%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tuk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2.44% LY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0.75% ME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0.31 MET:LY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Hill et al. (2009) J. Dairy Sci. 92: 3281-3291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39E90F3-4CB9-46B8-938E-28D0E1B77E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4635" y="971550"/>
            <a:ext cx="4772687" cy="2664000"/>
          </a:xfrm>
          <a:prstGeom prst="rect">
            <a:avLst/>
          </a:prstGeom>
        </p:spPr>
      </p:pic>
      <p:pic>
        <p:nvPicPr>
          <p:cNvPr id="36869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8714" y="971550"/>
            <a:ext cx="4433368" cy="26646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A1FA749-9A83-4A74-B3F5-B52BD6F11C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417" y="3687360"/>
            <a:ext cx="4433368" cy="244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795760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8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en-US" sz="2400" dirty="0"/>
              <a:t>Další aminokyseliny</a:t>
            </a:r>
            <a:endParaRPr lang="en-GB" altLang="en-US" sz="2400" dirty="0"/>
          </a:p>
        </p:txBody>
      </p:sp>
      <p:pic>
        <p:nvPicPr>
          <p:cNvPr id="37891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5750" y="981075"/>
            <a:ext cx="4579938" cy="2751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235825" y="3449638"/>
            <a:ext cx="187325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Hill et al. (2009) J. Dairy Sci. 92: 3281-3291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261" y="4088641"/>
            <a:ext cx="4242666" cy="2550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3235" y="4088641"/>
            <a:ext cx="4245840" cy="2550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5"/>
          <p:cNvSpPr txBox="1">
            <a:spLocks noChangeArrowheads="1"/>
          </p:cNvSpPr>
          <p:nvPr/>
        </p:nvSpPr>
        <p:spPr bwMode="auto">
          <a:xfrm>
            <a:off x="137102" y="3157538"/>
            <a:ext cx="3240088" cy="800219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Žádná průkazná odpověď na doplněk </a:t>
            </a:r>
            <a:r>
              <a:rPr kumimoji="0" lang="en-GB" alt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ARG</a:t>
            </a:r>
            <a:r>
              <a:rPr kumimoji="0" lang="en-GB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 </a:t>
            </a:r>
            <a:r>
              <a:rPr kumimoji="0" lang="cs-CZ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nebo</a:t>
            </a:r>
            <a:r>
              <a:rPr kumimoji="0" lang="en-GB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 HIS </a:t>
            </a:r>
            <a:r>
              <a:rPr kumimoji="0" lang="cs-CZ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do mléčné náhražky</a:t>
            </a:r>
            <a:r>
              <a:rPr kumimoji="0" lang="cs-CZ" altLang="en-US" sz="12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 optimalizované na </a:t>
            </a:r>
            <a:r>
              <a:rPr kumimoji="0" lang="en-GB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LYS, MET a </a:t>
            </a:r>
            <a:r>
              <a:rPr kumimoji="0" lang="en-GB" alt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THR</a:t>
            </a:r>
            <a:endParaRPr kumimoji="0" lang="en-GB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Hill et al. (2011) Prof. Anim. Sci. 27: 565-570</a:t>
            </a:r>
          </a:p>
        </p:txBody>
      </p:sp>
      <p:sp>
        <p:nvSpPr>
          <p:cNvPr id="37896" name="TextBox 5"/>
          <p:cNvSpPr txBox="1">
            <a:spLocks noChangeArrowheads="1"/>
          </p:cNvSpPr>
          <p:nvPr/>
        </p:nvSpPr>
        <p:spPr bwMode="auto">
          <a:xfrm>
            <a:off x="971550" y="1036638"/>
            <a:ext cx="3240088" cy="1200329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en-US" sz="1200" b="0" i="1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Všechny</a:t>
            </a:r>
            <a:r>
              <a:rPr kumimoji="0" lang="en-GB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 </a:t>
            </a:r>
            <a:r>
              <a:rPr kumimoji="0" lang="cs-CZ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skupiny</a:t>
            </a:r>
            <a:r>
              <a:rPr kumimoji="0" lang="en-GB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LYS=2.44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MET=0.75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THR</a:t>
            </a:r>
            <a:r>
              <a:rPr kumimoji="0" lang="en-GB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=1.56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…</a:t>
            </a:r>
            <a:r>
              <a:rPr kumimoji="0" lang="cs-CZ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ale nižší </a:t>
            </a:r>
            <a:r>
              <a:rPr kumimoji="0" lang="cs-CZ" alt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NL</a:t>
            </a:r>
            <a:r>
              <a:rPr kumimoji="0" lang="cs-CZ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 způsobily pomalejší růst</a:t>
            </a:r>
            <a:r>
              <a:rPr kumimoji="0" lang="en-GB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: </a:t>
            </a:r>
            <a:r>
              <a:rPr kumimoji="0" lang="cs-CZ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staly se další </a:t>
            </a:r>
            <a:r>
              <a:rPr kumimoji="0" lang="cs-CZ" alt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AMK</a:t>
            </a:r>
            <a:r>
              <a:rPr kumimoji="0" lang="cs-CZ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 limitujícími</a:t>
            </a:r>
            <a:r>
              <a:rPr kumimoji="0" lang="en-GB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88235000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1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B9580DF-B9E2-4240-B3E8-3CD01E11F5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sz="1800" dirty="0"/>
              <a:t>Tradiční </a:t>
            </a:r>
            <a:r>
              <a:rPr lang="cs-CZ" sz="1800" dirty="0" err="1"/>
              <a:t>výživářský</a:t>
            </a:r>
            <a:r>
              <a:rPr lang="cs-CZ" sz="1800" dirty="0"/>
              <a:t> pohled</a:t>
            </a:r>
            <a:r>
              <a:rPr lang="en-GB" sz="1800" dirty="0"/>
              <a:t>: </a:t>
            </a:r>
            <a:r>
              <a:rPr lang="cs-CZ" sz="1800" dirty="0"/>
              <a:t>bílkoviny poskytují </a:t>
            </a:r>
            <a:r>
              <a:rPr lang="cs-CZ" sz="1800" dirty="0">
                <a:solidFill>
                  <a:srgbClr val="FF0000"/>
                </a:solidFill>
              </a:rPr>
              <a:t>stravitelné</a:t>
            </a:r>
            <a:r>
              <a:rPr lang="en-GB" sz="1800" dirty="0"/>
              <a:t> amino</a:t>
            </a:r>
            <a:r>
              <a:rPr lang="cs-CZ" sz="1800" dirty="0"/>
              <a:t>kyseliny, které jsou absorbovány a využity jako stavební kameny pro bílkoviny těla, například svalovinu</a:t>
            </a:r>
            <a:endParaRPr lang="en-GB" sz="1800" dirty="0"/>
          </a:p>
          <a:p>
            <a:endParaRPr lang="en-GB" sz="1800" dirty="0"/>
          </a:p>
          <a:p>
            <a:r>
              <a:rPr lang="cs-CZ" sz="1800" dirty="0"/>
              <a:t>Dobře známá koncepce „limitujících aminokyselin“</a:t>
            </a:r>
            <a:endParaRPr lang="en-GB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1082483-8113-4651-AFA7-CB9DED2C4D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travitelné aminokyseliny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E15C875-849A-4519-B4FF-D9F977C81A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4464" y="3253048"/>
            <a:ext cx="3593868" cy="212251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1C56E9F-CC33-4101-81EE-F581AD2DE475}"/>
              </a:ext>
            </a:extLst>
          </p:cNvPr>
          <p:cNvSpPr txBox="1"/>
          <p:nvPr/>
        </p:nvSpPr>
        <p:spPr>
          <a:xfrm>
            <a:off x="4366954" y="3253048"/>
            <a:ext cx="4045526" cy="246221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cs-CZ" sz="1400" dirty="0"/>
              <a:t>Krmné dávky pro prasata jsou běžně optimalizovány na lysin a pak na další aminokyseliny ve vztahu k lysinu.</a:t>
            </a:r>
            <a:endParaRPr lang="en-GB" sz="1400" dirty="0"/>
          </a:p>
          <a:p>
            <a:endParaRPr lang="en-GB" sz="1400" dirty="0"/>
          </a:p>
          <a:p>
            <a:r>
              <a:rPr lang="cs-CZ" sz="1400" dirty="0"/>
              <a:t>„I když pořadí limitujících aminokyselin se může lišit u směsí s různými komponenty, nejčastěji jsou prvními limitujícími kyselinami většiny krmných směsí používaných v praxi lysin, threonin, methionin, tryptofan a valin.“</a:t>
            </a:r>
            <a:endParaRPr lang="en-US" sz="1400" dirty="0"/>
          </a:p>
          <a:p>
            <a:r>
              <a:rPr lang="en-US" sz="1400" dirty="0" err="1"/>
              <a:t>Tokach</a:t>
            </a:r>
            <a:r>
              <a:rPr lang="en-US" sz="1400" dirty="0"/>
              <a:t> et al. (2012) Kansas State Univ.</a:t>
            </a:r>
            <a:r>
              <a:rPr lang="cs-CZ" sz="1400" dirty="0"/>
              <a:t>, konference</a:t>
            </a:r>
            <a:r>
              <a:rPr lang="en-US" sz="1400" dirty="0"/>
              <a:t> Swine Profitability</a:t>
            </a:r>
            <a:endParaRPr lang="en-GB" sz="14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5E5AAD4-BB5F-4B29-B76A-47947575E618}"/>
              </a:ext>
            </a:extLst>
          </p:cNvPr>
          <p:cNvSpPr txBox="1"/>
          <p:nvPr/>
        </p:nvSpPr>
        <p:spPr>
          <a:xfrm>
            <a:off x="3036916" y="5846617"/>
            <a:ext cx="1378904" cy="3693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/>
              <a:t>A co telata</a:t>
            </a:r>
            <a:r>
              <a:rPr lang="en-GB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330802735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853CF5-A6F9-49C2-B1F6-D4670C240B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227" y="0"/>
            <a:ext cx="8508661" cy="836613"/>
          </a:xfrm>
        </p:spPr>
        <p:txBody>
          <a:bodyPr/>
          <a:lstStyle/>
          <a:p>
            <a:r>
              <a:rPr lang="cs-CZ" dirty="0"/>
              <a:t>Stravitelnost mléčné bílkoviny</a:t>
            </a:r>
            <a:r>
              <a:rPr lang="en-GB" dirty="0"/>
              <a:t>: </a:t>
            </a:r>
            <a:r>
              <a:rPr lang="cs-CZ" dirty="0"/>
              <a:t>vliv tepla</a:t>
            </a:r>
            <a:endParaRPr lang="en-GB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C7B58F5-B044-4C8D-AF6B-CAF7210841E3}"/>
              </a:ext>
            </a:extLst>
          </p:cNvPr>
          <p:cNvCxnSpPr>
            <a:cxnSpLocks/>
          </p:cNvCxnSpPr>
          <p:nvPr/>
        </p:nvCxnSpPr>
        <p:spPr>
          <a:xfrm>
            <a:off x="1080658" y="4106489"/>
            <a:ext cx="309787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F737CC8-9E69-43BF-BE16-995DF1689A11}"/>
              </a:ext>
            </a:extLst>
          </p:cNvPr>
          <p:cNvCxnSpPr/>
          <p:nvPr/>
        </p:nvCxnSpPr>
        <p:spPr>
          <a:xfrm>
            <a:off x="1080658" y="2382984"/>
            <a:ext cx="0" cy="172350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23DCCC8-2405-4D5C-8B9C-D2F47EE5C899}"/>
              </a:ext>
            </a:extLst>
          </p:cNvPr>
          <p:cNvCxnSpPr/>
          <p:nvPr/>
        </p:nvCxnSpPr>
        <p:spPr>
          <a:xfrm>
            <a:off x="1451960" y="2693326"/>
            <a:ext cx="2233352" cy="886691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8140C7C-8F88-4E30-995D-E7DFE928F4B4}"/>
              </a:ext>
            </a:extLst>
          </p:cNvPr>
          <p:cNvCxnSpPr>
            <a:cxnSpLocks/>
            <a:endCxn id="17" idx="1"/>
          </p:cNvCxnSpPr>
          <p:nvPr/>
        </p:nvCxnSpPr>
        <p:spPr>
          <a:xfrm flipV="1">
            <a:off x="1524003" y="2728899"/>
            <a:ext cx="2141884" cy="85112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D6503F75-4EF3-42C9-BA2E-D48EB942349F}"/>
              </a:ext>
            </a:extLst>
          </p:cNvPr>
          <p:cNvSpPr txBox="1"/>
          <p:nvPr/>
        </p:nvSpPr>
        <p:spPr>
          <a:xfrm>
            <a:off x="116227" y="2341226"/>
            <a:ext cx="102451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dirty="0"/>
              <a:t>Stravitelnost</a:t>
            </a:r>
            <a:endParaRPr lang="en-GB" sz="12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F06047B-3CD7-4684-BB05-83395F757B6E}"/>
              </a:ext>
            </a:extLst>
          </p:cNvPr>
          <p:cNvSpPr txBox="1"/>
          <p:nvPr/>
        </p:nvSpPr>
        <p:spPr>
          <a:xfrm>
            <a:off x="3665887" y="2590399"/>
            <a:ext cx="96109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dirty="0"/>
              <a:t>Denaturace</a:t>
            </a:r>
            <a:endParaRPr lang="en-GB" sz="12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4253236-D434-4BCE-8A44-3E56EF9E31F7}"/>
              </a:ext>
            </a:extLst>
          </p:cNvPr>
          <p:cNvSpPr txBox="1"/>
          <p:nvPr/>
        </p:nvSpPr>
        <p:spPr>
          <a:xfrm>
            <a:off x="3757355" y="3441517"/>
            <a:ext cx="14414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dirty="0" err="1"/>
              <a:t>Maillardova</a:t>
            </a:r>
            <a:r>
              <a:rPr lang="cs-CZ" sz="1200" dirty="0"/>
              <a:t> reakce</a:t>
            </a:r>
            <a:endParaRPr lang="en-GB" sz="120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258FC7E-83B7-4697-8655-3B5D46BBE69C}"/>
              </a:ext>
            </a:extLst>
          </p:cNvPr>
          <p:cNvSpPr txBox="1"/>
          <p:nvPr/>
        </p:nvSpPr>
        <p:spPr>
          <a:xfrm>
            <a:off x="3710096" y="4111434"/>
            <a:ext cx="5440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dirty="0"/>
              <a:t>Teplo</a:t>
            </a:r>
            <a:endParaRPr lang="en-GB" sz="12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523C177-C90F-420E-A899-38A03C2E23A4}"/>
              </a:ext>
            </a:extLst>
          </p:cNvPr>
          <p:cNvSpPr txBox="1"/>
          <p:nvPr/>
        </p:nvSpPr>
        <p:spPr>
          <a:xfrm>
            <a:off x="5525191" y="1269229"/>
            <a:ext cx="3308455" cy="156966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cs-CZ" sz="1600" dirty="0">
                <a:latin typeface="Calibri" panose="020F0502020204030204" pitchFamily="34" charset="0"/>
              </a:rPr>
              <a:t>„Ztráta terciární a sekundární struktury (denaturace) je zásadní změnou, kterou způsobuje tepelná úprava. Tím dojde obecně ke zvýšení stravitelnosti bílkovin</a:t>
            </a:r>
            <a:r>
              <a:rPr lang="en-GB" sz="1600" dirty="0">
                <a:latin typeface="Calibri" panose="020F0502020204030204" pitchFamily="34" charset="0"/>
              </a:rPr>
              <a:t>…</a:t>
            </a:r>
            <a:r>
              <a:rPr lang="cs-CZ" sz="1600" dirty="0">
                <a:latin typeface="Calibri" panose="020F0502020204030204" pitchFamily="34" charset="0"/>
              </a:rPr>
              <a:t>“</a:t>
            </a:r>
            <a:r>
              <a:rPr lang="en-GB" sz="1600" dirty="0">
                <a:latin typeface="Calibri" panose="020F0502020204030204" pitchFamily="34" charset="0"/>
              </a:rPr>
              <a:t> </a:t>
            </a:r>
          </a:p>
          <a:p>
            <a:r>
              <a:rPr lang="en-GB" sz="1600" dirty="0">
                <a:latin typeface="Calibri" panose="020F0502020204030204" pitchFamily="34" charset="0"/>
              </a:rPr>
              <a:t>Wada and </a:t>
            </a:r>
            <a:r>
              <a:rPr lang="en-GB" sz="1600" dirty="0" err="1">
                <a:latin typeface="Calibri" panose="020F0502020204030204" pitchFamily="34" charset="0"/>
              </a:rPr>
              <a:t>Lonnerdal</a:t>
            </a:r>
            <a:r>
              <a:rPr lang="en-GB" sz="1600" dirty="0">
                <a:latin typeface="Calibri" panose="020F0502020204030204" pitchFamily="34" charset="0"/>
              </a:rPr>
              <a:t> (2014)</a:t>
            </a:r>
            <a:endParaRPr lang="en-GB" sz="16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3F433B0-1125-4929-BC13-EFE04C76DBD8}"/>
              </a:ext>
            </a:extLst>
          </p:cNvPr>
          <p:cNvSpPr txBox="1"/>
          <p:nvPr/>
        </p:nvSpPr>
        <p:spPr>
          <a:xfrm>
            <a:off x="5525192" y="3007700"/>
            <a:ext cx="3308465" cy="280076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cs-CZ" sz="1600" dirty="0">
                <a:latin typeface="Calibri" panose="020F0502020204030204" pitchFamily="34" charset="0"/>
                <a:cs typeface="Calibri" panose="020F0502020204030204" pitchFamily="34" charset="0"/>
              </a:rPr>
              <a:t>“Protože</a:t>
            </a:r>
            <a:r>
              <a:rPr lang="en-GB" sz="1600" dirty="0">
                <a:latin typeface="Calibri" panose="020F0502020204030204" pitchFamily="34" charset="0"/>
                <a:cs typeface="Calibri" panose="020F0502020204030204" pitchFamily="34" charset="0"/>
              </a:rPr>
              <a:t>…</a:t>
            </a:r>
            <a:r>
              <a:rPr lang="cs-CZ" sz="1600" dirty="0">
                <a:latin typeface="Calibri" panose="020F0502020204030204" pitchFamily="34" charset="0"/>
                <a:cs typeface="Calibri" panose="020F0502020204030204" pitchFamily="34" charset="0"/>
              </a:rPr>
              <a:t>k poškození teplem dochází téměř výhradně v důsledku </a:t>
            </a:r>
            <a:r>
              <a:rPr lang="cs-CZ" sz="1600" dirty="0" err="1">
                <a:latin typeface="Calibri" panose="020F0502020204030204" pitchFamily="34" charset="0"/>
                <a:cs typeface="Calibri" panose="020F0502020204030204" pitchFamily="34" charset="0"/>
              </a:rPr>
              <a:t>Maillardových</a:t>
            </a:r>
            <a:r>
              <a:rPr lang="cs-CZ" sz="1600" dirty="0">
                <a:latin typeface="Calibri" panose="020F0502020204030204" pitchFamily="34" charset="0"/>
                <a:cs typeface="Calibri" panose="020F0502020204030204" pitchFamily="34" charset="0"/>
              </a:rPr>
              <a:t> reakcí raného typu,</a:t>
            </a:r>
            <a:r>
              <a:rPr lang="en-GB" sz="16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cs-CZ" sz="1600" dirty="0">
                <a:latin typeface="Calibri" panose="020F0502020204030204" pitchFamily="34" charset="0"/>
                <a:cs typeface="Calibri" panose="020F0502020204030204" pitchFamily="34" charset="0"/>
              </a:rPr>
              <a:t>stanovení blokovaného lysinu je nejlepším způsobem, jak hodnotit poškození v důsledku zpracování</a:t>
            </a:r>
            <a:r>
              <a:rPr lang="en-GB" sz="1600" dirty="0">
                <a:latin typeface="Calibri" panose="020F0502020204030204" pitchFamily="34" charset="0"/>
                <a:cs typeface="Calibri" panose="020F0502020204030204" pitchFamily="34" charset="0"/>
              </a:rPr>
              <a:t>….</a:t>
            </a:r>
            <a:r>
              <a:rPr lang="cs-CZ" sz="1600" dirty="0">
                <a:latin typeface="Calibri" panose="020F0502020204030204" pitchFamily="34" charset="0"/>
                <a:cs typeface="Calibri" panose="020F0502020204030204" pitchFamily="34" charset="0"/>
              </a:rPr>
              <a:t>Dokonce i sprejové sušení, které není správně zvládnuto, může způsobit značnou blokaci lysinu v takových případech.“</a:t>
            </a:r>
            <a:r>
              <a:rPr lang="en-GB" sz="16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r>
              <a:rPr lang="en-GB" sz="1600" dirty="0" err="1">
                <a:latin typeface="Calibri" panose="020F0502020204030204" pitchFamily="34" charset="0"/>
                <a:cs typeface="Calibri" panose="020F0502020204030204" pitchFamily="34" charset="0"/>
              </a:rPr>
              <a:t>Mauron</a:t>
            </a:r>
            <a:r>
              <a:rPr lang="en-GB" sz="1600" dirty="0">
                <a:latin typeface="Calibri" panose="020F0502020204030204" pitchFamily="34" charset="0"/>
                <a:cs typeface="Calibri" panose="020F0502020204030204" pitchFamily="34" charset="0"/>
              </a:rPr>
              <a:t> (1990)</a:t>
            </a:r>
          </a:p>
        </p:txBody>
      </p:sp>
    </p:spTree>
    <p:extLst>
      <p:ext uri="{BB962C8B-B14F-4D97-AF65-F5344CB8AC3E}">
        <p14:creationId xmlns:p14="http://schemas.microsoft.com/office/powerpoint/2010/main" val="568986278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853CF5-A6F9-49C2-B1F6-D4670C240B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Blokovaný lysin ve vybraných mléčných náhražkách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9C84AA6-8C58-48F6-A9F6-1DD159FA01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41404" y="3591454"/>
            <a:ext cx="5347025" cy="320871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4FDD4DD-8ED5-4CED-A307-12C57B8812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3943" y="1108330"/>
            <a:ext cx="3998920" cy="242048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B6DB9DF-61AA-4FBF-A017-3E9691AE25AE}"/>
              </a:ext>
            </a:extLst>
          </p:cNvPr>
          <p:cNvSpPr txBox="1"/>
          <p:nvPr/>
        </p:nvSpPr>
        <p:spPr>
          <a:xfrm>
            <a:off x="2969946" y="974646"/>
            <a:ext cx="2665834" cy="73866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cs-CZ" sz="1400" dirty="0"/>
              <a:t>Pro kontext</a:t>
            </a:r>
            <a:r>
              <a:rPr lang="en-GB" sz="1400" dirty="0"/>
              <a:t>: </a:t>
            </a:r>
            <a:r>
              <a:rPr lang="cs-CZ" sz="1400" dirty="0"/>
              <a:t>různé mléčné produkty analyzované metodou </a:t>
            </a:r>
            <a:r>
              <a:rPr lang="en-GB" sz="1400" dirty="0" err="1"/>
              <a:t>Ebersdobler</a:t>
            </a:r>
            <a:r>
              <a:rPr lang="en-GB" sz="1400" dirty="0"/>
              <a:t> a </a:t>
            </a:r>
            <a:r>
              <a:rPr lang="en-GB" sz="1400" dirty="0" err="1"/>
              <a:t>Hupe</a:t>
            </a:r>
            <a:r>
              <a:rPr lang="en-GB" sz="1400" dirty="0"/>
              <a:t> (1991)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95B7164-21AC-45B0-B70A-A07D663DCEA9}"/>
              </a:ext>
            </a:extLst>
          </p:cNvPr>
          <p:cNvSpPr/>
          <p:nvPr/>
        </p:nvSpPr>
        <p:spPr>
          <a:xfrm>
            <a:off x="7553459" y="3754192"/>
            <a:ext cx="1320085" cy="27432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B520995-287D-4FE9-8D51-2AA66FF5ACC9}"/>
              </a:ext>
            </a:extLst>
          </p:cNvPr>
          <p:cNvSpPr txBox="1"/>
          <p:nvPr/>
        </p:nvSpPr>
        <p:spPr>
          <a:xfrm>
            <a:off x="6561785" y="2343216"/>
            <a:ext cx="2380444" cy="1200329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cs-CZ" dirty="0"/>
              <a:t>Ne všechny koncentráty syrovátkového proteinu jsou stejné</a:t>
            </a:r>
            <a:r>
              <a:rPr lang="en-GB" dirty="0"/>
              <a:t>!</a:t>
            </a:r>
          </a:p>
        </p:txBody>
      </p: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537BAA6F-317D-4947-BC00-B04976440606}"/>
              </a:ext>
            </a:extLst>
          </p:cNvPr>
          <p:cNvCxnSpPr>
            <a:cxnSpLocks/>
            <a:stCxn id="14" idx="2"/>
            <a:endCxn id="13" idx="0"/>
          </p:cNvCxnSpPr>
          <p:nvPr/>
        </p:nvCxnSpPr>
        <p:spPr>
          <a:xfrm rot="16200000" flipH="1">
            <a:off x="7877431" y="3418120"/>
            <a:ext cx="210647" cy="461495"/>
          </a:xfrm>
          <a:prstGeom prst="bentConnector3">
            <a:avLst>
              <a:gd name="adj1" fmla="val 50000"/>
            </a:avLst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4DA7625A-C9B7-4141-9B0B-1336DB8CAC27}"/>
              </a:ext>
            </a:extLst>
          </p:cNvPr>
          <p:cNvSpPr txBox="1"/>
          <p:nvPr/>
        </p:nvSpPr>
        <p:spPr>
          <a:xfrm>
            <a:off x="1397355" y="6020871"/>
            <a:ext cx="2775397" cy="73866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1400" dirty="0"/>
              <a:t>Data: </a:t>
            </a:r>
            <a:r>
              <a:rPr lang="en-GB" sz="1400" dirty="0" err="1"/>
              <a:t>Volac</a:t>
            </a:r>
            <a:r>
              <a:rPr lang="en-GB" sz="1400" dirty="0"/>
              <a:t> / NIZO (2018) </a:t>
            </a:r>
            <a:r>
              <a:rPr lang="cs-CZ" sz="1400" dirty="0"/>
              <a:t>Vybrané mléčné náhražky a komponenty mléčných náhražek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3316165623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853CF5-A6F9-49C2-B1F6-D4670C240B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travitelnost rostlinných bílkoviny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4910EA-69A8-45F6-924F-CAC7C3AE2C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20462" y="3288765"/>
            <a:ext cx="7701567" cy="1694053"/>
          </a:xfrm>
          <a:solidFill>
            <a:schemeClr val="bg1"/>
          </a:solidFill>
          <a:ln>
            <a:solidFill>
              <a:schemeClr val="tx1"/>
            </a:solidFill>
          </a:ln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cs-CZ" sz="1600" dirty="0"/>
              <a:t>Sójové produkty </a:t>
            </a:r>
            <a:r>
              <a:rPr lang="en-GB" sz="1600" dirty="0"/>
              <a:t>(</a:t>
            </a:r>
            <a:r>
              <a:rPr lang="cs-CZ" sz="1600" dirty="0"/>
              <a:t>toastovaná sójová mouka</a:t>
            </a:r>
            <a:r>
              <a:rPr lang="en-GB" sz="1600" dirty="0"/>
              <a:t>, </a:t>
            </a:r>
            <a:r>
              <a:rPr lang="cs-CZ" sz="1600" dirty="0"/>
              <a:t>toastovaný vodný extrakt</a:t>
            </a:r>
            <a:r>
              <a:rPr lang="en-GB" sz="1600" dirty="0"/>
              <a:t>, </a:t>
            </a:r>
            <a:r>
              <a:rPr lang="cs-CZ" sz="1600" dirty="0"/>
              <a:t>alkoholový extrakt</a:t>
            </a:r>
            <a:r>
              <a:rPr lang="en-GB" sz="1600" dirty="0"/>
              <a:t>, </a:t>
            </a:r>
            <a:r>
              <a:rPr lang="cs-CZ" sz="1600" dirty="0"/>
              <a:t>částečně </a:t>
            </a:r>
            <a:r>
              <a:rPr lang="cs-CZ" sz="1600" dirty="0" err="1"/>
              <a:t>proteolyzovaný</a:t>
            </a:r>
            <a:r>
              <a:rPr lang="cs-CZ" sz="1600" dirty="0"/>
              <a:t> koncentrovaný vodný extrakt</a:t>
            </a:r>
            <a:r>
              <a:rPr lang="en-GB" sz="1600" dirty="0"/>
              <a:t>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cs-CZ" sz="1400" dirty="0"/>
              <a:t>Stravitelnosti bílkoviny se pohybovala v rozmezí </a:t>
            </a:r>
            <a:r>
              <a:rPr lang="en-US" sz="1400" dirty="0"/>
              <a:t>59 </a:t>
            </a:r>
            <a:r>
              <a:rPr lang="cs-CZ" sz="1400" dirty="0"/>
              <a:t>až</a:t>
            </a:r>
            <a:r>
              <a:rPr lang="en-US" sz="1400" dirty="0"/>
              <a:t> 84%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cs-CZ" sz="1400" dirty="0"/>
              <a:t>Stravitelnost bílkoviny lze predikovat podle </a:t>
            </a:r>
            <a:r>
              <a:rPr lang="en-US" sz="1400" dirty="0"/>
              <a:t>β-</a:t>
            </a:r>
            <a:r>
              <a:rPr lang="cs-CZ" sz="1400" dirty="0"/>
              <a:t>k</a:t>
            </a:r>
            <a:r>
              <a:rPr lang="en-US" sz="1400" dirty="0" err="1"/>
              <a:t>onglycinin</a:t>
            </a:r>
            <a:r>
              <a:rPr lang="cs-CZ" sz="1400" dirty="0"/>
              <a:t>u</a:t>
            </a:r>
            <a:r>
              <a:rPr lang="en-US" sz="1400" dirty="0"/>
              <a:t> (</a:t>
            </a:r>
            <a:r>
              <a:rPr lang="cs-CZ" sz="1400" dirty="0"/>
              <a:t>antigenní protein</a:t>
            </a:r>
            <a:r>
              <a:rPr lang="en-US" sz="1400" dirty="0"/>
              <a:t>) a</a:t>
            </a:r>
            <a:r>
              <a:rPr lang="cs-CZ" sz="1400" dirty="0"/>
              <a:t> inhibitoru trypsinu</a:t>
            </a:r>
            <a:endParaRPr lang="en-US" sz="1400" dirty="0"/>
          </a:p>
          <a:p>
            <a:pPr lvl="3">
              <a:buFont typeface="Arial" panose="020B0604020202020204" pitchFamily="34" charset="0"/>
              <a:buChar char="•"/>
            </a:pPr>
            <a:r>
              <a:rPr lang="en-US" sz="1200" dirty="0" err="1"/>
              <a:t>Lalles</a:t>
            </a:r>
            <a:r>
              <a:rPr lang="en-US" sz="1200" dirty="0"/>
              <a:t> et al. (1996) J. Dairy Sci. 79: 475-482</a:t>
            </a:r>
            <a:endParaRPr lang="en-GB" sz="1200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6B06F8B9-B816-426F-9C6D-94F649ECF92E}"/>
              </a:ext>
            </a:extLst>
          </p:cNvPr>
          <p:cNvSpPr txBox="1">
            <a:spLocks/>
          </p:cNvSpPr>
          <p:nvPr/>
        </p:nvSpPr>
        <p:spPr bwMode="auto">
          <a:xfrm>
            <a:off x="554173" y="1814135"/>
            <a:ext cx="6816456" cy="128323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066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defTabSz="914400">
              <a:buFont typeface="Arial" panose="020B0604020202020204" pitchFamily="34" charset="0"/>
              <a:buChar char="•"/>
            </a:pPr>
            <a:r>
              <a:rPr lang="cs-CZ" sz="1600" kern="0" dirty="0"/>
              <a:t>Hydrolyzovaný pšeničný lepek</a:t>
            </a:r>
            <a:endParaRPr lang="en-GB" sz="1600" kern="0" dirty="0"/>
          </a:p>
          <a:p>
            <a:pPr lvl="1" defTabSz="914400">
              <a:buFont typeface="Arial" panose="020B0604020202020204" pitchFamily="34" charset="0"/>
              <a:buChar char="•"/>
            </a:pPr>
            <a:r>
              <a:rPr lang="cs-CZ" sz="1400" kern="0" dirty="0" err="1"/>
              <a:t>Lektiny</a:t>
            </a:r>
            <a:r>
              <a:rPr lang="cs-CZ" sz="1400" kern="0" dirty="0"/>
              <a:t> a oligosacharidy odstraněné v průběhu zpracování</a:t>
            </a:r>
            <a:endParaRPr lang="en-GB" sz="1400" kern="0" dirty="0"/>
          </a:p>
          <a:p>
            <a:pPr lvl="1" defTabSz="914400">
              <a:buFont typeface="Arial" panose="020B0604020202020204" pitchFamily="34" charset="0"/>
              <a:buChar char="•"/>
            </a:pPr>
            <a:r>
              <a:rPr lang="cs-CZ" sz="1400" kern="0" dirty="0"/>
              <a:t>Bílkovina s přibližně 92% stravitelností v porovnání s mléčnou bílkovinou</a:t>
            </a:r>
            <a:endParaRPr lang="en-GB" sz="1400" kern="0" dirty="0"/>
          </a:p>
          <a:p>
            <a:pPr lvl="2" defTabSz="914400">
              <a:buFont typeface="Arial" panose="020B0604020202020204" pitchFamily="34" charset="0"/>
              <a:buChar char="•"/>
            </a:pPr>
            <a:r>
              <a:rPr lang="en-GB" sz="1200" kern="0" dirty="0"/>
              <a:t>Branco-</a:t>
            </a:r>
            <a:r>
              <a:rPr lang="en-GB" sz="1200" kern="0" dirty="0" err="1"/>
              <a:t>Pardal</a:t>
            </a:r>
            <a:r>
              <a:rPr lang="en-GB" sz="1200" kern="0" dirty="0"/>
              <a:t> et al. (1995) </a:t>
            </a:r>
            <a:r>
              <a:rPr lang="en-GB" sz="1200" kern="0" dirty="0" err="1"/>
              <a:t>Repr</a:t>
            </a:r>
            <a:r>
              <a:rPr lang="en-GB" sz="1200" kern="0" dirty="0"/>
              <a:t> </a:t>
            </a:r>
            <a:r>
              <a:rPr lang="en-GB" sz="1200" kern="0" dirty="0" err="1"/>
              <a:t>Nutr</a:t>
            </a:r>
            <a:r>
              <a:rPr lang="en-GB" sz="1200" kern="0" dirty="0"/>
              <a:t> Dev 39: 639-654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AE26C61-41F3-4957-9368-87A9953969C8}"/>
              </a:ext>
            </a:extLst>
          </p:cNvPr>
          <p:cNvSpPr txBox="1">
            <a:spLocks/>
          </p:cNvSpPr>
          <p:nvPr/>
        </p:nvSpPr>
        <p:spPr bwMode="auto">
          <a:xfrm>
            <a:off x="221468" y="1169676"/>
            <a:ext cx="8720383" cy="453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506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defTabSz="914400"/>
            <a:r>
              <a:rPr lang="cs-CZ" kern="0" dirty="0"/>
              <a:t>Stravitelnost může být nízká, pokud nejsou odstraněny </a:t>
            </a:r>
            <a:r>
              <a:rPr lang="cs-CZ" kern="0" dirty="0" err="1"/>
              <a:t>antinutriční</a:t>
            </a:r>
            <a:r>
              <a:rPr lang="cs-CZ" kern="0" dirty="0"/>
              <a:t> látky</a:t>
            </a:r>
            <a:endParaRPr lang="en-GB" kern="0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2A9F798-4077-4427-939F-80D9A1AC6EE7}"/>
              </a:ext>
            </a:extLst>
          </p:cNvPr>
          <p:cNvSpPr txBox="1">
            <a:spLocks/>
          </p:cNvSpPr>
          <p:nvPr/>
        </p:nvSpPr>
        <p:spPr bwMode="auto">
          <a:xfrm>
            <a:off x="734476" y="5235261"/>
            <a:ext cx="8207375" cy="453063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defTabSz="914400"/>
            <a:r>
              <a:rPr lang="cs-CZ" sz="1600" kern="0" dirty="0"/>
              <a:t>Nebojte se rostlinných bílkovin, ale ujistěte se, že znáte specifika daného zdroje.</a:t>
            </a:r>
            <a:endParaRPr lang="en-GB" sz="1600" kern="0" dirty="0"/>
          </a:p>
        </p:txBody>
      </p:sp>
    </p:spTree>
    <p:extLst>
      <p:ext uri="{BB962C8B-B14F-4D97-AF65-F5344CB8AC3E}">
        <p14:creationId xmlns:p14="http://schemas.microsoft.com/office/powerpoint/2010/main" val="1791369434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en-US" sz="2400" dirty="0"/>
              <a:t>Aminokyseliny: signály a substráty</a:t>
            </a:r>
            <a:endParaRPr lang="en-GB" altLang="en-US" sz="2400" dirty="0"/>
          </a:p>
        </p:txBody>
      </p:sp>
      <p:sp>
        <p:nvSpPr>
          <p:cNvPr id="38915" name="TextBox 5"/>
          <p:cNvSpPr txBox="1">
            <a:spLocks noChangeArrowheads="1"/>
          </p:cNvSpPr>
          <p:nvPr/>
        </p:nvSpPr>
        <p:spPr bwMode="auto">
          <a:xfrm>
            <a:off x="6025821" y="2037056"/>
            <a:ext cx="3021065" cy="3385542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“Dráha</a:t>
            </a:r>
            <a:r>
              <a:rPr kumimoji="0" lang="en-GB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 mTOR </a:t>
            </a:r>
            <a:r>
              <a:rPr kumimoji="0" lang="cs-CZ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detekuje a integruje živiny a dostupnou energii před vysláním signálu pro syntézu bílkoviny</a:t>
            </a:r>
            <a:r>
              <a:rPr kumimoji="0" lang="en-GB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altLang="en-US" sz="1600" dirty="0">
                <a:solidFill>
                  <a:srgbClr val="000000"/>
                </a:solidFill>
                <a:latin typeface="Verdana" panose="020B0604030504040204" pitchFamily="34" charset="0"/>
              </a:rPr>
              <a:t>Úplná eliminace přísunu aminokyselin, </a:t>
            </a:r>
            <a:r>
              <a:rPr lang="cs-CZ" altLang="en-US" sz="1600" i="1" dirty="0">
                <a:solidFill>
                  <a:srgbClr val="000000"/>
                </a:solidFill>
                <a:latin typeface="Verdana" panose="020B0604030504040204" pitchFamily="34" charset="0"/>
              </a:rPr>
              <a:t>nebo striktní vynechání lysinu, </a:t>
            </a:r>
            <a:r>
              <a:rPr lang="cs-CZ" altLang="en-US" sz="1600" dirty="0">
                <a:solidFill>
                  <a:srgbClr val="000000"/>
                </a:solidFill>
                <a:latin typeface="Verdana" panose="020B0604030504040204" pitchFamily="34" charset="0"/>
              </a:rPr>
              <a:t> inhibuje u mnoha typů buněk signální dráhu </a:t>
            </a:r>
            <a:r>
              <a:rPr kumimoji="0" lang="en-GB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mTOR.</a:t>
            </a:r>
            <a:r>
              <a:rPr kumimoji="0" lang="cs-CZ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“</a:t>
            </a:r>
            <a:endParaRPr kumimoji="0" lang="en-GB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Mahoney et al. (2009) </a:t>
            </a:r>
            <a:r>
              <a:rPr kumimoji="0" lang="en-GB" alt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Prog</a:t>
            </a:r>
            <a:r>
              <a:rPr kumimoji="0" lang="en-GB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. Mol. Biol. Transl. Sci. 90: 53-107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114" y="693921"/>
            <a:ext cx="5735650" cy="2686270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3" name="Rectangle 2"/>
          <p:cNvSpPr/>
          <p:nvPr/>
        </p:nvSpPr>
        <p:spPr>
          <a:xfrm>
            <a:off x="311727" y="2930236"/>
            <a:ext cx="5521037" cy="277674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E115409-8F7F-4FB6-BD16-44CBD80C55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479786"/>
            <a:ext cx="5832764" cy="3378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02905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915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en-US" sz="2400" dirty="0"/>
              <a:t>Syrovátka a svaly</a:t>
            </a:r>
            <a:r>
              <a:rPr lang="en-GB" altLang="en-US" sz="2400" dirty="0"/>
              <a:t>: </a:t>
            </a:r>
            <a:r>
              <a:rPr lang="cs-CZ" altLang="en-US" sz="2400" dirty="0"/>
              <a:t>příklady u člověka</a:t>
            </a:r>
            <a:endParaRPr lang="en-GB" altLang="en-US" sz="2400" dirty="0"/>
          </a:p>
        </p:txBody>
      </p:sp>
      <p:sp>
        <p:nvSpPr>
          <p:cNvPr id="40963" name="TextBox 5"/>
          <p:cNvSpPr txBox="1">
            <a:spLocks noChangeArrowheads="1"/>
          </p:cNvSpPr>
          <p:nvPr/>
        </p:nvSpPr>
        <p:spPr bwMode="auto">
          <a:xfrm>
            <a:off x="755650" y="1125538"/>
            <a:ext cx="7200900" cy="1985159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lvl="0" defTabSz="914400">
              <a:spcBef>
                <a:spcPct val="0"/>
              </a:spcBef>
              <a:defRPr/>
            </a:pPr>
            <a:r>
              <a:rPr lang="cs-CZ" sz="1600" dirty="0"/>
              <a:t>„</a:t>
            </a:r>
            <a:r>
              <a:rPr kumimoji="0" lang="en-GB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…</a:t>
            </a:r>
            <a:r>
              <a:rPr kumimoji="0" lang="cs-CZ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syrovátková bílkovina stimuluje syntézu svalového proteinu</a:t>
            </a:r>
            <a:r>
              <a:rPr kumimoji="0" lang="en-GB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… </a:t>
            </a:r>
            <a:r>
              <a:rPr kumimoji="0" lang="cs-CZ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ve větší intenzitě než jiné zdroje bílkovin</a:t>
            </a:r>
            <a:r>
              <a:rPr kumimoji="0" lang="en-GB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T</a:t>
            </a:r>
            <a:r>
              <a:rPr kumimoji="0" lang="cs-CZ" alt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yto</a:t>
            </a:r>
            <a:r>
              <a:rPr kumimoji="0" lang="cs-CZ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 výsledky ukazují, že větší efekt syrovátkové bílkoviny na syntézu svalového proteinu byl důsledkem jeho vysokého obsahu leucinu</a:t>
            </a:r>
            <a:r>
              <a:rPr kumimoji="0" lang="en-GB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.</a:t>
            </a:r>
            <a:r>
              <a:rPr lang="cs-CZ" altLang="en-US" sz="1600" dirty="0">
                <a:solidFill>
                  <a:srgbClr val="000000"/>
                </a:solidFill>
                <a:latin typeface="Verdana" panose="020B0604030504040204" pitchFamily="34" charset="0"/>
              </a:rPr>
              <a:t>“</a:t>
            </a:r>
            <a:endParaRPr kumimoji="0" lang="en-GB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Zdroj</a:t>
            </a:r>
            <a:r>
              <a:rPr kumimoji="0" lang="en-GB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: Kanda et al. (2013) Br. J. </a:t>
            </a:r>
            <a:r>
              <a:rPr kumimoji="0" lang="en-GB" alt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Nutr</a:t>
            </a:r>
            <a:r>
              <a:rPr kumimoji="0" lang="en-GB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. 110: 981-987 </a:t>
            </a:r>
          </a:p>
        </p:txBody>
      </p:sp>
      <p:pic>
        <p:nvPicPr>
          <p:cNvPr id="40964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650" y="3197221"/>
            <a:ext cx="5138106" cy="349163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965" name="TextBox 5"/>
          <p:cNvSpPr txBox="1">
            <a:spLocks noChangeArrowheads="1"/>
          </p:cNvSpPr>
          <p:nvPr/>
        </p:nvSpPr>
        <p:spPr bwMode="auto">
          <a:xfrm>
            <a:off x="5383056" y="3110697"/>
            <a:ext cx="2376488" cy="1492716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Syrovátkový protein zvyšuje fosforylaci v dráze </a:t>
            </a:r>
            <a:r>
              <a:rPr kumimoji="0" lang="en-GB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mTOR </a:t>
            </a:r>
            <a:r>
              <a:rPr kumimoji="0" lang="cs-CZ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indikátory síly u mladých a starých </a:t>
            </a:r>
            <a:r>
              <a:rPr kumimoji="0" lang="cs-CZ" alt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můžů</a:t>
            </a:r>
            <a:r>
              <a:rPr kumimoji="0" lang="cs-CZ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.</a:t>
            </a:r>
            <a:endParaRPr kumimoji="0" lang="en-GB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Farnfield</a:t>
            </a:r>
            <a:r>
              <a:rPr kumimoji="0" lang="en-GB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 et al. (2012) Appl. Physiol. </a:t>
            </a:r>
            <a:r>
              <a:rPr kumimoji="0" lang="en-GB" alt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Nutr</a:t>
            </a:r>
            <a:r>
              <a:rPr kumimoji="0" lang="en-GB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. </a:t>
            </a:r>
            <a:r>
              <a:rPr kumimoji="0" lang="en-GB" alt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Metab</a:t>
            </a:r>
            <a:r>
              <a:rPr kumimoji="0" lang="en-GB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. 37: 21-30</a:t>
            </a:r>
          </a:p>
        </p:txBody>
      </p:sp>
    </p:spTree>
    <p:extLst>
      <p:ext uri="{BB962C8B-B14F-4D97-AF65-F5344CB8AC3E}">
        <p14:creationId xmlns:p14="http://schemas.microsoft.com/office/powerpoint/2010/main" val="234513496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853CF5-A6F9-49C2-B1F6-D4670C240B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Doplněk leucinu u hospodářských zvířat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4910EA-69A8-45F6-924F-CAC7C3AE2C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cs-CZ" sz="1800" dirty="0"/>
              <a:t>Doplněk leucinu</a:t>
            </a:r>
            <a:r>
              <a:rPr lang="en-GB" sz="1800" dirty="0"/>
              <a:t>: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GB" sz="16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cs-CZ" sz="1600" dirty="0"/>
              <a:t>Podporuje vývoj střev a transport aminokyselin u selat</a:t>
            </a:r>
            <a:r>
              <a:rPr lang="en-GB" sz="1600" dirty="0"/>
              <a:t> (Sun et al., 2015)</a:t>
            </a:r>
            <a:r>
              <a:rPr lang="cs-CZ" sz="1600" dirty="0"/>
              <a:t>.</a:t>
            </a:r>
            <a:endParaRPr lang="en-GB" sz="1600" dirty="0"/>
          </a:p>
          <a:p>
            <a:pPr lvl="1">
              <a:buFont typeface="Arial" panose="020B0604020202020204" pitchFamily="34" charset="0"/>
              <a:buChar char="•"/>
            </a:pPr>
            <a:endParaRPr lang="en-GB" sz="16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cs-CZ" sz="1600" dirty="0"/>
              <a:t>Omezuje oxidační stres u časně odstavených jehňat</a:t>
            </a:r>
            <a:r>
              <a:rPr lang="en-GB" sz="1600" dirty="0"/>
              <a:t> (Mao et al., 2019) a</a:t>
            </a:r>
            <a:r>
              <a:rPr lang="cs-CZ" sz="1600" dirty="0"/>
              <a:t> selat</a:t>
            </a:r>
            <a:r>
              <a:rPr lang="en-GB" sz="1600" dirty="0"/>
              <a:t> (Hu et al., 2017)</a:t>
            </a:r>
            <a:r>
              <a:rPr lang="cs-CZ" sz="1600" dirty="0"/>
              <a:t>.</a:t>
            </a:r>
            <a:endParaRPr lang="en-GB" sz="1600" dirty="0"/>
          </a:p>
          <a:p>
            <a:pPr lvl="1">
              <a:buFont typeface="Arial" panose="020B0604020202020204" pitchFamily="34" charset="0"/>
              <a:buChar char="•"/>
            </a:pPr>
            <a:endParaRPr lang="en-GB" sz="16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cs-CZ" sz="1600" dirty="0"/>
              <a:t>Zvyšuje syntézu svalové bílkoviny a snižuje degradaci svalové bílkoviny u selat</a:t>
            </a:r>
            <a:r>
              <a:rPr lang="en-GB" sz="1600" dirty="0"/>
              <a:t> (</a:t>
            </a:r>
            <a:r>
              <a:rPr lang="en-GB" sz="1600" dirty="0" err="1"/>
              <a:t>Suryawan</a:t>
            </a:r>
            <a:r>
              <a:rPr lang="en-GB" sz="1600" dirty="0"/>
              <a:t> et al., 2016)</a:t>
            </a:r>
            <a:r>
              <a:rPr lang="cs-CZ" sz="1600" dirty="0"/>
              <a:t>.</a:t>
            </a:r>
            <a:r>
              <a:rPr lang="en-GB" sz="1600" dirty="0"/>
              <a:t> 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GB" sz="16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cs-CZ" sz="1600" dirty="0"/>
              <a:t>Omezuje degradaci svalového proteinu u selat v průběhu akutní </a:t>
            </a:r>
            <a:r>
              <a:rPr lang="cs-CZ" sz="1600" dirty="0" err="1"/>
              <a:t>enterotoxémie</a:t>
            </a:r>
            <a:r>
              <a:rPr lang="en-GB" sz="1600" dirty="0"/>
              <a:t> (Hernandez-Garcia et al., 2015)</a:t>
            </a:r>
            <a:r>
              <a:rPr lang="cs-CZ" sz="1600" dirty="0"/>
              <a:t>.</a:t>
            </a:r>
            <a:endParaRPr lang="en-GB" sz="1600" dirty="0"/>
          </a:p>
          <a:p>
            <a:pPr lvl="1">
              <a:buFont typeface="Arial" panose="020B0604020202020204" pitchFamily="34" charset="0"/>
              <a:buChar char="•"/>
            </a:pPr>
            <a:endParaRPr lang="en-GB" sz="16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cs-CZ" sz="1600" dirty="0"/>
              <a:t>Překvapující nedostatek informací od </a:t>
            </a:r>
            <a:r>
              <a:rPr lang="cs-CZ" sz="1600" dirty="0" err="1"/>
              <a:t>preruminantních</a:t>
            </a:r>
            <a:r>
              <a:rPr lang="cs-CZ" sz="1600" dirty="0"/>
              <a:t> telat.</a:t>
            </a:r>
            <a:endParaRPr lang="en-GB" sz="1600" dirty="0"/>
          </a:p>
          <a:p>
            <a:pPr>
              <a:buFont typeface="Arial" panose="020B0604020202020204" pitchFamily="34" charset="0"/>
              <a:buChar char="•"/>
            </a:pPr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3098693288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Celoživotní užitkovost dojnic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5" descr="Performance Graph"/>
          <p:cNvPicPr>
            <a:picLocks noChangeAspect="1" noChangeArrowheads="1"/>
          </p:cNvPicPr>
          <p:nvPr/>
        </p:nvPicPr>
        <p:blipFill>
          <a:blip r:embed="rId2" cstate="print"/>
          <a:srcRect t="12500" r="1099" b="10659"/>
          <a:stretch>
            <a:fillRect/>
          </a:stretch>
        </p:blipFill>
        <p:spPr bwMode="auto">
          <a:xfrm>
            <a:off x="323528" y="1268760"/>
            <a:ext cx="8496944" cy="4869160"/>
          </a:xfrm>
          <a:prstGeom prst="rect">
            <a:avLst/>
          </a:prstGeom>
          <a:noFill/>
        </p:spPr>
      </p:pic>
      <p:sp>
        <p:nvSpPr>
          <p:cNvPr id="5" name="TextBox 4"/>
          <p:cNvSpPr txBox="1"/>
          <p:nvPr/>
        </p:nvSpPr>
        <p:spPr>
          <a:xfrm>
            <a:off x="323528" y="6453336"/>
            <a:ext cx="36724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Claire Wathes, RVC</a:t>
            </a:r>
          </a:p>
        </p:txBody>
      </p:sp>
    </p:spTree>
    <p:extLst>
      <p:ext uri="{BB962C8B-B14F-4D97-AF65-F5344CB8AC3E}">
        <p14:creationId xmlns:p14="http://schemas.microsoft.com/office/powerpoint/2010/main" val="1542180097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tle 1"/>
          <p:cNvSpPr>
            <a:spLocks noGrp="1"/>
          </p:cNvSpPr>
          <p:nvPr>
            <p:ph type="title"/>
          </p:nvPr>
        </p:nvSpPr>
        <p:spPr>
          <a:xfrm>
            <a:off x="395287" y="0"/>
            <a:ext cx="8697197" cy="836613"/>
          </a:xfrm>
        </p:spPr>
        <p:txBody>
          <a:bodyPr/>
          <a:lstStyle/>
          <a:p>
            <a:r>
              <a:rPr lang="cs-CZ" altLang="en-US" sz="2000" dirty="0"/>
              <a:t>Více leucinu v syrovátkovém proteinu než v proteinu sušeného odstředěného mléka</a:t>
            </a:r>
            <a:endParaRPr lang="en-GB" altLang="en-US" sz="2000" dirty="0"/>
          </a:p>
        </p:txBody>
      </p:sp>
      <p:pic>
        <p:nvPicPr>
          <p:cNvPr id="32771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684" y="1268412"/>
            <a:ext cx="6992181" cy="420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6F7B4B2E-F8CE-4F33-AC3F-6E2972718E99}"/>
              </a:ext>
            </a:extLst>
          </p:cNvPr>
          <p:cNvCxnSpPr/>
          <p:nvPr/>
        </p:nvCxnSpPr>
        <p:spPr>
          <a:xfrm>
            <a:off x="4749339" y="2299853"/>
            <a:ext cx="0" cy="487680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9018824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703096" y="6356350"/>
            <a:ext cx="261392" cy="365125"/>
          </a:xfrm>
          <a:prstGeom prst="rect">
            <a:avLst/>
          </a:prstGeom>
        </p:spPr>
        <p:txBody>
          <a:bodyPr/>
          <a:lstStyle/>
          <a:p>
            <a:fld id="{80D6757C-AADA-42E6-900C-AE6D99EF5A31}" type="slidenum">
              <a:rPr lang="en-GB" smtClean="0">
                <a:solidFill>
                  <a:srgbClr val="655C59">
                    <a:tint val="75000"/>
                  </a:srgbClr>
                </a:solidFill>
              </a:rPr>
              <a:pPr/>
              <a:t>21</a:t>
            </a:fld>
            <a:endParaRPr lang="en-GB" dirty="0">
              <a:solidFill>
                <a:srgbClr val="655C59">
                  <a:tint val="75000"/>
                </a:srgbClr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Hlubší pohled</a:t>
            </a:r>
            <a:r>
              <a:rPr lang="en-GB" dirty="0"/>
              <a:t>…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1700808"/>
            <a:ext cx="2481175" cy="3312368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8759" y="1686064"/>
            <a:ext cx="2481175" cy="3312368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0808" y="1700809"/>
            <a:ext cx="2481175" cy="3312368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8" name="TextBox 7"/>
          <p:cNvSpPr txBox="1"/>
          <p:nvPr/>
        </p:nvSpPr>
        <p:spPr>
          <a:xfrm>
            <a:off x="1220527" y="1231268"/>
            <a:ext cx="1073692" cy="3693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rgbClr val="C00000"/>
                </a:solidFill>
              </a:rPr>
              <a:t>Bílkoviny</a:t>
            </a:r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244863" y="1231268"/>
            <a:ext cx="777777" cy="369332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rgbClr val="0070C0"/>
                </a:solidFill>
              </a:rPr>
              <a:t>Lipidy</a:t>
            </a:r>
            <a:endParaRPr lang="en-GB" dirty="0">
              <a:solidFill>
                <a:srgbClr val="0070C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621127" y="1231268"/>
            <a:ext cx="1170513" cy="369332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chemeClr val="accent4"/>
                </a:solidFill>
              </a:rPr>
              <a:t>Sacharidy</a:t>
            </a:r>
            <a:endParaRPr lang="en-GB" dirty="0">
              <a:solidFill>
                <a:schemeClr val="accent4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72951" y="2276872"/>
            <a:ext cx="1616148" cy="369332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rgbClr val="C00000"/>
                </a:solidFill>
              </a:rPr>
              <a:t>Dusíkaté látky</a:t>
            </a:r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148519" y="3068960"/>
            <a:ext cx="1011815" cy="369332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rgbClr val="C00000"/>
                </a:solidFill>
              </a:rPr>
              <a:t>Proteiny</a:t>
            </a:r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966501" y="3861048"/>
            <a:ext cx="1625573" cy="369332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rgbClr val="C00000"/>
                </a:solidFill>
              </a:rPr>
              <a:t>Aminokyseliny</a:t>
            </a:r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956831" y="2270832"/>
            <a:ext cx="1188146" cy="369332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rgbClr val="0070C0"/>
                </a:solidFill>
              </a:rPr>
              <a:t>Hrubý tuk</a:t>
            </a:r>
            <a:endParaRPr lang="en-GB" dirty="0">
              <a:solidFill>
                <a:srgbClr val="0070C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199990" y="3068960"/>
            <a:ext cx="777777" cy="369332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rgbClr val="0070C0"/>
                </a:solidFill>
              </a:rPr>
              <a:t>Lipidy</a:t>
            </a:r>
            <a:endParaRPr lang="en-GB" dirty="0">
              <a:solidFill>
                <a:srgbClr val="0070C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983966" y="3861048"/>
            <a:ext cx="1789080" cy="369332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rgbClr val="0070C0"/>
                </a:solidFill>
              </a:rPr>
              <a:t>Mastné kyseliny</a:t>
            </a:r>
            <a:endParaRPr lang="en-GB" dirty="0">
              <a:solidFill>
                <a:srgbClr val="0070C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261087" y="2708920"/>
            <a:ext cx="963725" cy="369332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chemeClr val="accent4"/>
                </a:solidFill>
              </a:rPr>
              <a:t>Laktóza</a:t>
            </a:r>
            <a:endParaRPr lang="en-GB" dirty="0">
              <a:solidFill>
                <a:schemeClr val="accent4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261087" y="3779749"/>
            <a:ext cx="2153976" cy="369332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txBody>
          <a:bodyPr wrap="square" rtlCol="0">
            <a:spAutoFit/>
          </a:bodyPr>
          <a:lstStyle/>
          <a:p>
            <a:r>
              <a:rPr lang="cs-CZ" dirty="0">
                <a:solidFill>
                  <a:schemeClr val="accent4"/>
                </a:solidFill>
              </a:rPr>
              <a:t>Složené sacharidy</a:t>
            </a:r>
            <a:endParaRPr lang="en-GB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7373652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2" name="Picture 9">
            <a:extLst>
              <a:ext uri="{FF2B5EF4-FFF2-40B4-BE49-F238E27FC236}">
                <a16:creationId xmlns:a16="http://schemas.microsoft.com/office/drawing/2014/main" id="{288CF39D-A993-4179-90D5-D709AE2131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0925" y="1184275"/>
            <a:ext cx="3494088" cy="2095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603" name="Picture 12">
            <a:extLst>
              <a:ext uri="{FF2B5EF4-FFF2-40B4-BE49-F238E27FC236}">
                <a16:creationId xmlns:a16="http://schemas.microsoft.com/office/drawing/2014/main" id="{00E1607D-35AE-4339-A74F-7E3DB68805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775" y="3778250"/>
            <a:ext cx="3494088" cy="209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5604" name="Rectangle 2" hidden="1">
            <a:extLst>
              <a:ext uri="{FF2B5EF4-FFF2-40B4-BE49-F238E27FC236}">
                <a16:creationId xmlns:a16="http://schemas.microsoft.com/office/drawing/2014/main" id="{B5882788-522F-49C5-B5BE-693A40E34D45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25604" name="Rectangle 2" hidden="1">
                        <a:extLst>
                          <a:ext uri="{FF2B5EF4-FFF2-40B4-BE49-F238E27FC236}">
                            <a16:creationId xmlns:a16="http://schemas.microsoft.com/office/drawing/2014/main" id="{B5882788-522F-49C5-B5BE-693A40E34D45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605" name="Rectangle 3">
            <a:extLst>
              <a:ext uri="{FF2B5EF4-FFF2-40B4-BE49-F238E27FC236}">
                <a16:creationId xmlns:a16="http://schemas.microsoft.com/office/drawing/2014/main" id="{5F911B02-6C9F-49B2-A039-295BE4C00E81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cs-CZ" altLang="en-US" dirty="0"/>
              <a:t>Mléčná bílkovina</a:t>
            </a:r>
            <a:endParaRPr lang="en-GB" altLang="en-US" dirty="0"/>
          </a:p>
        </p:txBody>
      </p:sp>
      <p:pic>
        <p:nvPicPr>
          <p:cNvPr id="25606" name="Picture 9">
            <a:extLst>
              <a:ext uri="{FF2B5EF4-FFF2-40B4-BE49-F238E27FC236}">
                <a16:creationId xmlns:a16="http://schemas.microsoft.com/office/drawing/2014/main" id="{5C698BF3-6658-4C93-B526-0F775CBAB4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368" y="1181100"/>
            <a:ext cx="3494088" cy="209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07" name="Picture 10">
            <a:extLst>
              <a:ext uri="{FF2B5EF4-FFF2-40B4-BE49-F238E27FC236}">
                <a16:creationId xmlns:a16="http://schemas.microsoft.com/office/drawing/2014/main" id="{D43B6F24-3D74-407B-8B07-E5EE0AE5B4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7275" y="3776663"/>
            <a:ext cx="3494088" cy="210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5608" name="Curved Connector 19">
            <a:extLst>
              <a:ext uri="{FF2B5EF4-FFF2-40B4-BE49-F238E27FC236}">
                <a16:creationId xmlns:a16="http://schemas.microsoft.com/office/drawing/2014/main" id="{26C42271-26D1-497A-8578-421522B229C9}"/>
              </a:ext>
            </a:extLst>
          </p:cNvPr>
          <p:cNvCxnSpPr>
            <a:cxnSpLocks noChangeShapeType="1"/>
            <a:stCxn id="25606" idx="3"/>
          </p:cNvCxnSpPr>
          <p:nvPr/>
        </p:nvCxnSpPr>
        <p:spPr bwMode="auto">
          <a:xfrm flipV="1">
            <a:off x="4158456" y="1303338"/>
            <a:ext cx="1960562" cy="927100"/>
          </a:xfrm>
          <a:prstGeom prst="curvedConnector3">
            <a:avLst>
              <a:gd name="adj1" fmla="val 50000"/>
            </a:avLst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609" name="Curved Connector 24">
            <a:extLst>
              <a:ext uri="{FF2B5EF4-FFF2-40B4-BE49-F238E27FC236}">
                <a16:creationId xmlns:a16="http://schemas.microsoft.com/office/drawing/2014/main" id="{3F428C1A-84F4-46D0-BDF1-FABFD901131E}"/>
              </a:ext>
            </a:extLst>
          </p:cNvPr>
          <p:cNvCxnSpPr>
            <a:cxnSpLocks noChangeShapeType="1"/>
            <a:endCxn id="25607" idx="0"/>
          </p:cNvCxnSpPr>
          <p:nvPr/>
        </p:nvCxnSpPr>
        <p:spPr bwMode="auto">
          <a:xfrm rot="16200000" flipH="1">
            <a:off x="5915819" y="3078956"/>
            <a:ext cx="1176338" cy="219075"/>
          </a:xfrm>
          <a:prstGeom prst="curvedConnector3">
            <a:avLst>
              <a:gd name="adj1" fmla="val 50000"/>
            </a:avLst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610" name="Curved Connector 27">
            <a:extLst>
              <a:ext uri="{FF2B5EF4-FFF2-40B4-BE49-F238E27FC236}">
                <a16:creationId xmlns:a16="http://schemas.microsoft.com/office/drawing/2014/main" id="{FD0F3DA7-AA63-42C2-8037-4D7E99147252}"/>
              </a:ext>
            </a:extLst>
          </p:cNvPr>
          <p:cNvCxnSpPr>
            <a:cxnSpLocks noChangeShapeType="1"/>
          </p:cNvCxnSpPr>
          <p:nvPr/>
        </p:nvCxnSpPr>
        <p:spPr bwMode="auto">
          <a:xfrm rot="10800000" flipV="1">
            <a:off x="2614613" y="2011363"/>
            <a:ext cx="3576637" cy="1957387"/>
          </a:xfrm>
          <a:prstGeom prst="curvedConnector3">
            <a:avLst>
              <a:gd name="adj1" fmla="val 50000"/>
            </a:avLst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2" y="0"/>
            <a:ext cx="8156575" cy="836613"/>
          </a:xfrm>
        </p:spPr>
        <p:txBody>
          <a:bodyPr/>
          <a:lstStyle/>
          <a:p>
            <a:r>
              <a:rPr lang="cs-CZ" dirty="0"/>
              <a:t>Funkční proteiny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/>
            <a:r>
              <a:rPr lang="cs-CZ" sz="1800" dirty="0"/>
              <a:t>„</a:t>
            </a:r>
            <a:r>
              <a:rPr lang="cs-CZ" sz="1800" dirty="0">
                <a:latin typeface="Calibri" panose="020F0502020204030204" pitchFamily="34" charset="0"/>
                <a:cs typeface="Calibri" panose="020F0502020204030204" pitchFamily="34" charset="0"/>
              </a:rPr>
              <a:t>Proteiny nacházející se v lidském mléce hrají řadu důležitých rolí v organizmu vyvíjejícího se novorozence</a:t>
            </a:r>
            <a:r>
              <a:rPr lang="en-GB" sz="1800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cs-CZ" sz="1800" dirty="0">
                <a:latin typeface="Calibri" panose="020F0502020204030204" pitchFamily="34" charset="0"/>
                <a:cs typeface="Calibri" panose="020F0502020204030204" pitchFamily="34" charset="0"/>
              </a:rPr>
              <a:t>Zatímco mnohé</a:t>
            </a:r>
            <a:r>
              <a:rPr lang="en-GB" sz="1800" dirty="0">
                <a:latin typeface="Calibri" panose="020F0502020204030204" pitchFamily="34" charset="0"/>
                <a:cs typeface="Calibri" panose="020F0502020204030204" pitchFamily="34" charset="0"/>
              </a:rPr>
              <a:t> [</a:t>
            </a:r>
            <a:r>
              <a:rPr lang="cs-CZ" sz="1800" dirty="0">
                <a:latin typeface="Calibri" panose="020F0502020204030204" pitchFamily="34" charset="0"/>
                <a:cs typeface="Calibri" panose="020F0502020204030204" pitchFamily="34" charset="0"/>
              </a:rPr>
              <a:t>např.</a:t>
            </a:r>
            <a:r>
              <a:rPr lang="en-GB" sz="1800" dirty="0">
                <a:latin typeface="Calibri" panose="020F0502020204030204" pitchFamily="34" charset="0"/>
                <a:cs typeface="Calibri" panose="020F0502020204030204" pitchFamily="34" charset="0"/>
              </a:rPr>
              <a:t> β-la</a:t>
            </a:r>
            <a:r>
              <a:rPr lang="cs-CZ" sz="1800" dirty="0">
                <a:latin typeface="Calibri" panose="020F0502020204030204" pitchFamily="34" charset="0"/>
                <a:cs typeface="Calibri" panose="020F0502020204030204" pitchFamily="34" charset="0"/>
              </a:rPr>
              <a:t>k</a:t>
            </a:r>
            <a:r>
              <a:rPr lang="en-GB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toglobulin</a:t>
            </a:r>
            <a:r>
              <a:rPr lang="en-GB" sz="1800" dirty="0">
                <a:latin typeface="Calibri" panose="020F0502020204030204" pitchFamily="34" charset="0"/>
                <a:cs typeface="Calibri" panose="020F0502020204030204" pitchFamily="34" charset="0"/>
              </a:rPr>
              <a:t>] </a:t>
            </a:r>
            <a:r>
              <a:rPr lang="cs-CZ" sz="1800" dirty="0">
                <a:latin typeface="Calibri" panose="020F0502020204030204" pitchFamily="34" charset="0"/>
                <a:cs typeface="Calibri" panose="020F0502020204030204" pitchFamily="34" charset="0"/>
              </a:rPr>
              <a:t>jsou úplně stráveny</a:t>
            </a:r>
            <a:r>
              <a:rPr lang="en-GB" sz="1800" dirty="0">
                <a:latin typeface="Calibri" panose="020F0502020204030204" pitchFamily="34" charset="0"/>
                <a:cs typeface="Calibri" panose="020F0502020204030204" pitchFamily="34" charset="0"/>
              </a:rPr>
              <a:t>…</a:t>
            </a:r>
            <a:r>
              <a:rPr lang="cs-CZ" sz="1800" dirty="0">
                <a:latin typeface="Calibri" panose="020F0502020204030204" pitchFamily="34" charset="0"/>
                <a:cs typeface="Calibri" panose="020F0502020204030204" pitchFamily="34" charset="0"/>
              </a:rPr>
              <a:t>a poskytují </a:t>
            </a:r>
            <a:r>
              <a:rPr lang="cs-CZ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esendciální</a:t>
            </a:r>
            <a:r>
              <a:rPr lang="cs-CZ" sz="1800" dirty="0">
                <a:latin typeface="Calibri" panose="020F0502020204030204" pitchFamily="34" charset="0"/>
                <a:cs typeface="Calibri" panose="020F0502020204030204" pitchFamily="34" charset="0"/>
              </a:rPr>
              <a:t> aminokyseliny pro růst a vývoj</a:t>
            </a:r>
            <a:r>
              <a:rPr lang="en-GB" sz="18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cs-CZ" sz="1800" dirty="0">
                <a:latin typeface="Calibri" panose="020F0502020204030204" pitchFamily="34" charset="0"/>
                <a:cs typeface="Calibri" panose="020F0502020204030204" pitchFamily="34" charset="0"/>
              </a:rPr>
              <a:t>jiné proteiny jsou částečně nebo neúplně rozloženy a vykazují </a:t>
            </a:r>
            <a:r>
              <a:rPr lang="en-GB" sz="1800" b="1" i="1" dirty="0">
                <a:latin typeface="Calibri" panose="020F0502020204030204" pitchFamily="34" charset="0"/>
                <a:cs typeface="Calibri" panose="020F0502020204030204" pitchFamily="34" charset="0"/>
              </a:rPr>
              <a:t>fun</a:t>
            </a:r>
            <a:r>
              <a:rPr lang="cs-CZ" sz="1800" b="1" i="1" dirty="0" err="1">
                <a:latin typeface="Calibri" panose="020F0502020204030204" pitchFamily="34" charset="0"/>
                <a:cs typeface="Calibri" panose="020F0502020204030204" pitchFamily="34" charset="0"/>
              </a:rPr>
              <a:t>kční</a:t>
            </a:r>
            <a:r>
              <a:rPr lang="cs-CZ" sz="1800" b="1" i="1" dirty="0">
                <a:latin typeface="Calibri" panose="020F0502020204030204" pitchFamily="34" charset="0"/>
                <a:cs typeface="Calibri" panose="020F0502020204030204" pitchFamily="34" charset="0"/>
              </a:rPr>
              <a:t> účinky</a:t>
            </a:r>
            <a:r>
              <a:rPr lang="en-GB" sz="1800" dirty="0">
                <a:latin typeface="Calibri" panose="020F0502020204030204" pitchFamily="34" charset="0"/>
                <a:cs typeface="Calibri" panose="020F0502020204030204" pitchFamily="34" charset="0"/>
              </a:rPr>
              <a:t>…</a:t>
            </a:r>
            <a:r>
              <a:rPr lang="cs-CZ" sz="1800" dirty="0">
                <a:latin typeface="Calibri" panose="020F0502020204030204" pitchFamily="34" charset="0"/>
                <a:cs typeface="Calibri" panose="020F0502020204030204" pitchFamily="34" charset="0"/>
              </a:rPr>
              <a:t>“</a:t>
            </a:r>
            <a:endParaRPr lang="en-GB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GB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/>
            <a:r>
              <a:rPr lang="cs-CZ" sz="1800" dirty="0"/>
              <a:t>„</a:t>
            </a:r>
            <a:r>
              <a:rPr lang="cs-CZ" sz="1800" dirty="0">
                <a:latin typeface="Calibri" panose="020F0502020204030204" pitchFamily="34" charset="0"/>
                <a:cs typeface="Calibri" panose="020F0502020204030204" pitchFamily="34" charset="0"/>
              </a:rPr>
              <a:t>Například některé mléčné proteiny podporují trávení a vstřebávání dalších živin z mléka, zatímco jiné chrání před patogenními bakteriemi a viry, pomáhají podporovat získanou imunitu, ovlivňují kognitivní vývoj a vyzrávání trávicího traktu</a:t>
            </a:r>
            <a:r>
              <a:rPr lang="en-GB" sz="18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r>
              <a:rPr lang="cs-CZ" sz="1800" dirty="0">
                <a:latin typeface="Calibri" panose="020F0502020204030204" pitchFamily="34" charset="0"/>
                <a:cs typeface="Calibri" panose="020F0502020204030204" pitchFamily="34" charset="0"/>
              </a:rPr>
              <a:t>“</a:t>
            </a:r>
            <a:endParaRPr lang="en-GB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09041" y="6337190"/>
            <a:ext cx="29312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/>
              <a:t>Gao et al. (2012) J. Proteome Res.</a:t>
            </a:r>
          </a:p>
        </p:txBody>
      </p:sp>
    </p:spTree>
    <p:extLst>
      <p:ext uri="{BB962C8B-B14F-4D97-AF65-F5344CB8AC3E}">
        <p14:creationId xmlns:p14="http://schemas.microsoft.com/office/powerpoint/2010/main" val="145873784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Nissen</a:t>
            </a:r>
            <a:r>
              <a:rPr lang="en-GB" dirty="0"/>
              <a:t> et al. (2017)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0932" y="1031081"/>
            <a:ext cx="6975377" cy="5155957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353731982"/>
      </p:ext>
    </p:extLst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28D41A-81B0-4C1E-8381-B97552FFC6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řes </a:t>
            </a:r>
            <a:r>
              <a:rPr lang="en-GB" dirty="0"/>
              <a:t>200 </a:t>
            </a:r>
            <a:r>
              <a:rPr lang="cs-CZ" dirty="0"/>
              <a:t>proteinů bylo identifikováno </a:t>
            </a:r>
            <a:br>
              <a:rPr lang="cs-CZ" dirty="0"/>
            </a:br>
            <a:r>
              <a:rPr lang="cs-CZ" dirty="0"/>
              <a:t>v přípravku </a:t>
            </a:r>
            <a:r>
              <a:rPr lang="en-GB" dirty="0" err="1"/>
              <a:t>Imunopro</a:t>
            </a:r>
            <a:r>
              <a:rPr lang="en-GB" dirty="0"/>
              <a:t>*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C53AF4B-213C-41EB-99FB-0E327FFE2896}"/>
              </a:ext>
            </a:extLst>
          </p:cNvPr>
          <p:cNvSpPr/>
          <p:nvPr/>
        </p:nvSpPr>
        <p:spPr>
          <a:xfrm>
            <a:off x="-326968" y="6460178"/>
            <a:ext cx="406184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n-GB" sz="1200" dirty="0" err="1"/>
              <a:t>Volac</a:t>
            </a:r>
            <a:r>
              <a:rPr lang="en-GB" sz="1200" dirty="0"/>
              <a:t> / Aarhus University, </a:t>
            </a:r>
            <a:r>
              <a:rPr lang="cs-CZ" sz="1200" dirty="0"/>
              <a:t>nepublikováno</a:t>
            </a:r>
            <a:r>
              <a:rPr lang="en-GB" sz="1200" dirty="0"/>
              <a:t>, 2017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CC954D1-F315-4923-8FA8-C9874A25D9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462" y="1330035"/>
            <a:ext cx="9008707" cy="326571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33CF2E4-B5F4-41DA-A307-2B7FE230D52E}"/>
              </a:ext>
            </a:extLst>
          </p:cNvPr>
          <p:cNvSpPr txBox="1"/>
          <p:nvPr/>
        </p:nvSpPr>
        <p:spPr>
          <a:xfrm>
            <a:off x="2981290" y="1185529"/>
            <a:ext cx="3057596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1600" dirty="0"/>
              <a:t>Relativně bohatá škála proteinů</a:t>
            </a:r>
            <a:endParaRPr lang="en-GB" sz="1600" dirty="0"/>
          </a:p>
          <a:p>
            <a:pPr algn="ctr"/>
            <a:r>
              <a:rPr lang="en-GB" sz="1600" dirty="0"/>
              <a:t>(</a:t>
            </a:r>
            <a:r>
              <a:rPr lang="cs-CZ" sz="1600" dirty="0"/>
              <a:t>zde je pro přehlednost uvedeno pouze 50 hlavních</a:t>
            </a:r>
            <a:r>
              <a:rPr lang="en-GB" sz="1600" dirty="0"/>
              <a:t>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622CACF-C497-4A8C-8147-15455749AA49}"/>
              </a:ext>
            </a:extLst>
          </p:cNvPr>
          <p:cNvSpPr txBox="1"/>
          <p:nvPr/>
        </p:nvSpPr>
        <p:spPr>
          <a:xfrm>
            <a:off x="0" y="5374076"/>
            <a:ext cx="755290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/>
              <a:t>* </a:t>
            </a:r>
            <a:r>
              <a:rPr lang="en-GB" sz="1400" dirty="0" err="1"/>
              <a:t>Imunopro</a:t>
            </a:r>
            <a:r>
              <a:rPr lang="en-GB" sz="1400" dirty="0"/>
              <a:t> = </a:t>
            </a:r>
            <a:r>
              <a:rPr lang="cs-CZ" sz="1400" dirty="0"/>
              <a:t>patentovaný koncentrát syrovátkového proteinu a fosfolipidů společnosti </a:t>
            </a:r>
            <a:r>
              <a:rPr lang="cs-CZ" sz="1400" dirty="0" err="1"/>
              <a:t>Volac</a:t>
            </a:r>
            <a:endParaRPr lang="en-GB" sz="1400" dirty="0"/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66032FC7-2791-4AC8-B934-E9E7E93F27A9}"/>
              </a:ext>
            </a:extLst>
          </p:cNvPr>
          <p:cNvCxnSpPr>
            <a:cxnSpLocks/>
          </p:cNvCxnSpPr>
          <p:nvPr/>
        </p:nvCxnSpPr>
        <p:spPr>
          <a:xfrm>
            <a:off x="1171977" y="1860453"/>
            <a:ext cx="0" cy="605848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315075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a</a:t>
            </a:r>
            <a:r>
              <a:rPr lang="cs-CZ" dirty="0"/>
              <a:t>k</a:t>
            </a:r>
            <a:r>
              <a:rPr lang="en-GB" dirty="0" err="1"/>
              <a:t>toferin</a:t>
            </a:r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1018310" y="1246909"/>
            <a:ext cx="723900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cs-CZ" sz="1600" dirty="0"/>
              <a:t>Bakteriostatický a bakteriocidní</a:t>
            </a:r>
            <a:endParaRPr lang="en-GB" sz="16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cs-CZ" sz="1600" dirty="0"/>
              <a:t>váže železo</a:t>
            </a:r>
            <a:r>
              <a:rPr lang="en-GB" sz="1600" dirty="0"/>
              <a:t>, </a:t>
            </a:r>
            <a:r>
              <a:rPr lang="cs-CZ" sz="1600" dirty="0"/>
              <a:t>omezuje tak patogeny závisející na iontech železa, jako je </a:t>
            </a:r>
            <a:r>
              <a:rPr lang="en-GB" sz="1600" dirty="0"/>
              <a:t>E. coli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cs-CZ" sz="1600" dirty="0"/>
              <a:t>přímý antibakteriální účinek peptidů odvozených od </a:t>
            </a:r>
            <a:r>
              <a:rPr lang="cs-CZ" sz="1600" dirty="0" err="1"/>
              <a:t>laktoferinu</a:t>
            </a:r>
            <a:endParaRPr lang="en-GB" sz="16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GB" sz="1600" dirty="0"/>
          </a:p>
          <a:p>
            <a:pPr marL="342900" indent="-342900">
              <a:buFont typeface="+mj-lt"/>
              <a:buAutoNum type="arabicPeriod"/>
            </a:pPr>
            <a:r>
              <a:rPr lang="en-GB" sz="1600" dirty="0"/>
              <a:t>Prebiotic</a:t>
            </a:r>
            <a:r>
              <a:rPr lang="cs-CZ" sz="1600" dirty="0" err="1"/>
              <a:t>ký</a:t>
            </a:r>
            <a:r>
              <a:rPr lang="cs-CZ" sz="1600" dirty="0"/>
              <a:t> účinek na žádoucí střevní bakterie</a:t>
            </a:r>
            <a:r>
              <a:rPr lang="en-GB" sz="1600" dirty="0"/>
              <a:t> (</a:t>
            </a:r>
            <a:r>
              <a:rPr lang="cs-CZ" sz="1600" dirty="0"/>
              <a:t>např. laktobacily </a:t>
            </a:r>
            <a:br>
              <a:rPr lang="cs-CZ" sz="1600" dirty="0"/>
            </a:br>
            <a:r>
              <a:rPr lang="cs-CZ" sz="1600" dirty="0"/>
              <a:t>a bifidobakterie</a:t>
            </a:r>
            <a:r>
              <a:rPr lang="en-GB" sz="1600" dirty="0"/>
              <a:t>)</a:t>
            </a:r>
          </a:p>
          <a:p>
            <a:pPr marL="342900" indent="-342900">
              <a:buFont typeface="+mj-lt"/>
              <a:buAutoNum type="arabicPeriod"/>
            </a:pPr>
            <a:endParaRPr lang="en-GB" sz="1600" dirty="0"/>
          </a:p>
          <a:p>
            <a:pPr marL="342900" indent="-342900">
              <a:buFont typeface="+mj-lt"/>
              <a:buAutoNum type="arabicPeriod"/>
            </a:pPr>
            <a:r>
              <a:rPr lang="cs-CZ" sz="1600" dirty="0"/>
              <a:t>Prokázána protiplísňová, </a:t>
            </a:r>
            <a:r>
              <a:rPr lang="cs-CZ" sz="1600" dirty="0" err="1"/>
              <a:t>antiprotozoální</a:t>
            </a:r>
            <a:r>
              <a:rPr lang="cs-CZ" sz="1600" dirty="0"/>
              <a:t> a antivirová aktivita</a:t>
            </a:r>
            <a:endParaRPr lang="en-GB" sz="1600" dirty="0"/>
          </a:p>
          <a:p>
            <a:pPr marL="342900" indent="-342900">
              <a:buFont typeface="+mj-lt"/>
              <a:buAutoNum type="arabicPeriod"/>
            </a:pPr>
            <a:endParaRPr lang="en-GB" sz="1600" dirty="0"/>
          </a:p>
          <a:p>
            <a:pPr marL="342900" indent="-342900">
              <a:buFont typeface="+mj-lt"/>
              <a:buAutoNum type="arabicPeriod"/>
            </a:pPr>
            <a:r>
              <a:rPr lang="cs-CZ" sz="1600" dirty="0"/>
              <a:t>Protizánětlivý účinek</a:t>
            </a:r>
            <a:endParaRPr lang="en-GB" sz="16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cs-CZ" sz="1600" dirty="0"/>
              <a:t>váže bakteriální endotoxiny</a:t>
            </a:r>
            <a:endParaRPr lang="en-GB" sz="1600" dirty="0"/>
          </a:p>
        </p:txBody>
      </p:sp>
      <p:sp>
        <p:nvSpPr>
          <p:cNvPr id="4" name="TextBox 3"/>
          <p:cNvSpPr txBox="1"/>
          <p:nvPr/>
        </p:nvSpPr>
        <p:spPr>
          <a:xfrm>
            <a:off x="145945" y="6096000"/>
            <a:ext cx="3876382" cy="60016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cs-CZ" sz="1100" dirty="0"/>
              <a:t>Více informací o mechanizmu účinku naleznete v</a:t>
            </a:r>
            <a:r>
              <a:rPr lang="en-GB" sz="1100" dirty="0"/>
              <a:t>:</a:t>
            </a:r>
          </a:p>
          <a:p>
            <a:r>
              <a:rPr lang="en-GB" sz="1100" dirty="0" err="1"/>
              <a:t>Farnaud</a:t>
            </a:r>
            <a:r>
              <a:rPr lang="en-GB" sz="1100" dirty="0"/>
              <a:t> a Evans (2003) Molecular </a:t>
            </a:r>
            <a:r>
              <a:rPr lang="en-GB" sz="1100" dirty="0" err="1"/>
              <a:t>Immunolgy</a:t>
            </a:r>
            <a:r>
              <a:rPr lang="en-GB" sz="1100" dirty="0"/>
              <a:t> 40: 395-405</a:t>
            </a:r>
          </a:p>
          <a:p>
            <a:r>
              <a:rPr lang="en-GB" sz="1100" dirty="0"/>
              <a:t>Legrand (2012) </a:t>
            </a:r>
            <a:r>
              <a:rPr lang="en-GB" sz="1100" dirty="0" err="1"/>
              <a:t>Biochem</a:t>
            </a:r>
            <a:r>
              <a:rPr lang="en-GB" sz="1100" dirty="0"/>
              <a:t>. Cell Biol. 90: 252-268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11452" y="3715555"/>
            <a:ext cx="4335409" cy="291940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26FBEB9-F93A-4E7F-9944-52C4EBF530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90197" y="111002"/>
            <a:ext cx="2056664" cy="1423018"/>
          </a:xfrm>
          <a:prstGeom prst="rect">
            <a:avLst/>
          </a:prstGeom>
          <a:ln>
            <a:solidFill>
              <a:schemeClr val="accent2"/>
            </a:solidFill>
          </a:ln>
        </p:spPr>
      </p:pic>
    </p:spTree>
    <p:extLst>
      <p:ext uri="{BB962C8B-B14F-4D97-AF65-F5344CB8AC3E}">
        <p14:creationId xmlns:p14="http://schemas.microsoft.com/office/powerpoint/2010/main" val="3803300996"/>
      </p:ext>
    </p:extLst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/>
              <a:t>Laktoferin</a:t>
            </a:r>
            <a:r>
              <a:rPr lang="en-GB" dirty="0"/>
              <a:t>: </a:t>
            </a:r>
            <a:r>
              <a:rPr lang="cs-CZ" dirty="0"/>
              <a:t>v mlezivu a přechodném mléce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73029" y="1110741"/>
            <a:ext cx="3950994" cy="3065318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2492062" y="4375681"/>
            <a:ext cx="4031961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 err="1"/>
              <a:t>Laktoferin</a:t>
            </a:r>
            <a:r>
              <a:rPr lang="cs-CZ" sz="1600" dirty="0"/>
              <a:t> v syrovátce připravené </a:t>
            </a:r>
            <a:br>
              <a:rPr lang="cs-CZ" sz="1600" dirty="0"/>
            </a:br>
            <a:r>
              <a:rPr lang="cs-CZ" sz="1600" dirty="0"/>
              <a:t>z bovinního kolostra, přechodného mléka a zralého mléka</a:t>
            </a: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Zhang et al. (2011) Asian-Aust. J. Anim. Sci. 24: 272-278</a:t>
            </a:r>
          </a:p>
        </p:txBody>
      </p:sp>
    </p:spTree>
    <p:extLst>
      <p:ext uri="{BB962C8B-B14F-4D97-AF65-F5344CB8AC3E}">
        <p14:creationId xmlns:p14="http://schemas.microsoft.com/office/powerpoint/2010/main" val="3311654697"/>
      </p:ext>
    </p:extLst>
  </p:cSld>
  <p:clrMapOvr>
    <a:masterClrMapping/>
  </p:clrMapOvr>
  <p:transition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Zdravotní odezva na doplněk </a:t>
            </a:r>
            <a:r>
              <a:rPr lang="cs-CZ" dirty="0" err="1"/>
              <a:t>laktoferinu</a:t>
            </a:r>
            <a:endParaRPr lang="en-GB" dirty="0"/>
          </a:p>
        </p:txBody>
      </p:sp>
      <p:sp>
        <p:nvSpPr>
          <p:cNvPr id="10" name="TextBox 9"/>
          <p:cNvSpPr txBox="1"/>
          <p:nvPr/>
        </p:nvSpPr>
        <p:spPr>
          <a:xfrm>
            <a:off x="166255" y="6125083"/>
            <a:ext cx="4405745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GB" sz="1200" dirty="0" err="1"/>
              <a:t>Habing</a:t>
            </a:r>
            <a:r>
              <a:rPr lang="en-GB" sz="1200" dirty="0"/>
              <a:t> et al. (2017) J. Dairy Sci. 100: 1-9</a:t>
            </a:r>
          </a:p>
          <a:p>
            <a:r>
              <a:rPr lang="cs-CZ" sz="1200" dirty="0"/>
              <a:t>Přibližně </a:t>
            </a:r>
            <a:r>
              <a:rPr lang="en-GB" sz="1200" dirty="0"/>
              <a:t>200 </a:t>
            </a:r>
            <a:r>
              <a:rPr lang="cs-CZ" sz="1200" dirty="0"/>
              <a:t>telat na skupinu, ranč na západě USA</a:t>
            </a:r>
            <a:endParaRPr lang="en-GB" sz="1200" dirty="0"/>
          </a:p>
          <a:p>
            <a:r>
              <a:rPr lang="en-GB" sz="1200" dirty="0"/>
              <a:t>La</a:t>
            </a:r>
            <a:r>
              <a:rPr lang="cs-CZ" sz="1200" dirty="0"/>
              <a:t>k</a:t>
            </a:r>
            <a:r>
              <a:rPr lang="en-GB" sz="1200" dirty="0" err="1"/>
              <a:t>toferrin</a:t>
            </a:r>
            <a:r>
              <a:rPr lang="en-GB" sz="1200" dirty="0"/>
              <a:t> = </a:t>
            </a:r>
            <a:r>
              <a:rPr lang="en-GB" sz="1200" dirty="0" err="1"/>
              <a:t>3g</a:t>
            </a:r>
            <a:r>
              <a:rPr lang="en-GB" sz="1200" dirty="0"/>
              <a:t>/d </a:t>
            </a:r>
            <a:r>
              <a:rPr lang="cs-CZ" sz="1200" dirty="0"/>
              <a:t>doplňku obsahujícího </a:t>
            </a:r>
            <a:r>
              <a:rPr lang="en-GB" sz="1200" dirty="0"/>
              <a:t>90% la</a:t>
            </a:r>
            <a:r>
              <a:rPr lang="cs-CZ" sz="1200" dirty="0"/>
              <a:t>k</a:t>
            </a:r>
            <a:r>
              <a:rPr lang="en-GB" sz="1200" dirty="0" err="1"/>
              <a:t>toferin</a:t>
            </a:r>
            <a:r>
              <a:rPr lang="cs-CZ" sz="1200" dirty="0"/>
              <a:t>u</a:t>
            </a:r>
            <a:endParaRPr lang="en-GB" sz="12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2361" y="1886146"/>
            <a:ext cx="6199518" cy="3723837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2895406" y="1158856"/>
            <a:ext cx="371994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/>
              <a:t>Telata, u nichž byl diagnostikován průjem, měla nižší riziko úhynu, když dostávala </a:t>
            </a:r>
            <a:r>
              <a:rPr lang="cs-CZ" sz="1600" dirty="0" err="1"/>
              <a:t>laktoferin</a:t>
            </a: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1544202256"/>
      </p:ext>
    </p:extLst>
  </p:cSld>
  <p:clrMapOvr>
    <a:masterClrMapping/>
  </p:clrMapOvr>
  <p:transition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703096" y="6356350"/>
            <a:ext cx="261392" cy="365125"/>
          </a:xfrm>
          <a:prstGeom prst="rect">
            <a:avLst/>
          </a:prstGeom>
        </p:spPr>
        <p:txBody>
          <a:bodyPr/>
          <a:lstStyle/>
          <a:p>
            <a:fld id="{80D6757C-AADA-42E6-900C-AE6D99EF5A31}" type="slidenum">
              <a:rPr lang="en-GB" smtClean="0">
                <a:solidFill>
                  <a:srgbClr val="655C59">
                    <a:tint val="75000"/>
                  </a:srgbClr>
                </a:solidFill>
              </a:rPr>
              <a:pPr/>
              <a:t>29</a:t>
            </a:fld>
            <a:endParaRPr lang="en-GB" dirty="0">
              <a:solidFill>
                <a:srgbClr val="655C59">
                  <a:tint val="75000"/>
                </a:srgbClr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Hlubší pohled</a:t>
            </a:r>
            <a:r>
              <a:rPr lang="en-GB" dirty="0"/>
              <a:t>…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1700808"/>
            <a:ext cx="2481175" cy="3312368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8759" y="1686064"/>
            <a:ext cx="2481175" cy="3312368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0808" y="1700809"/>
            <a:ext cx="2481175" cy="3312368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8" name="TextBox 7"/>
          <p:cNvSpPr txBox="1"/>
          <p:nvPr/>
        </p:nvSpPr>
        <p:spPr>
          <a:xfrm>
            <a:off x="1220527" y="1231268"/>
            <a:ext cx="1073692" cy="3693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rgbClr val="C00000"/>
                </a:solidFill>
              </a:rPr>
              <a:t>Bílkoviny</a:t>
            </a:r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244863" y="1231268"/>
            <a:ext cx="777777" cy="369332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rgbClr val="0070C0"/>
                </a:solidFill>
              </a:rPr>
              <a:t>Lipidy</a:t>
            </a:r>
            <a:endParaRPr lang="en-GB" dirty="0">
              <a:solidFill>
                <a:srgbClr val="0070C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621127" y="1231268"/>
            <a:ext cx="1170513" cy="369332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chemeClr val="accent4"/>
                </a:solidFill>
              </a:rPr>
              <a:t>Sacharidy</a:t>
            </a:r>
            <a:endParaRPr lang="en-GB" dirty="0">
              <a:solidFill>
                <a:schemeClr val="accent4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72951" y="2276872"/>
            <a:ext cx="1616148" cy="369332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rgbClr val="C00000"/>
                </a:solidFill>
              </a:rPr>
              <a:t>Dusíkaté látky</a:t>
            </a:r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148519" y="3068960"/>
            <a:ext cx="1011815" cy="369332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rgbClr val="C00000"/>
                </a:solidFill>
              </a:rPr>
              <a:t>Protein</a:t>
            </a:r>
            <a:r>
              <a:rPr lang="cs-CZ" dirty="0">
                <a:solidFill>
                  <a:srgbClr val="C00000"/>
                </a:solidFill>
              </a:rPr>
              <a:t>y</a:t>
            </a:r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966501" y="3861048"/>
            <a:ext cx="1625573" cy="369332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rgbClr val="C00000"/>
                </a:solidFill>
              </a:rPr>
              <a:t>Aminokyseliny</a:t>
            </a:r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956831" y="2270832"/>
            <a:ext cx="1188146" cy="369332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rgbClr val="0070C0"/>
                </a:solidFill>
              </a:rPr>
              <a:t>Hrubý tuk</a:t>
            </a:r>
            <a:endParaRPr lang="en-GB" dirty="0">
              <a:solidFill>
                <a:srgbClr val="0070C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199990" y="3068960"/>
            <a:ext cx="777777" cy="369332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rgbClr val="0070C0"/>
                </a:solidFill>
              </a:rPr>
              <a:t>Lipidy</a:t>
            </a:r>
            <a:endParaRPr lang="en-GB" dirty="0">
              <a:solidFill>
                <a:srgbClr val="0070C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983966" y="3861048"/>
            <a:ext cx="1789080" cy="369332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rgbClr val="0070C0"/>
                </a:solidFill>
              </a:rPr>
              <a:t>Mastné kyseliny</a:t>
            </a:r>
            <a:endParaRPr lang="en-GB" dirty="0">
              <a:solidFill>
                <a:srgbClr val="0070C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261087" y="2708920"/>
            <a:ext cx="963725" cy="369332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chemeClr val="accent4"/>
                </a:solidFill>
              </a:rPr>
              <a:t>Laktóza</a:t>
            </a:r>
            <a:endParaRPr lang="en-GB" dirty="0">
              <a:solidFill>
                <a:schemeClr val="accent4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203380" y="3779749"/>
            <a:ext cx="2042863" cy="369332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txBody>
          <a:bodyPr wrap="square" rtlCol="0">
            <a:spAutoFit/>
          </a:bodyPr>
          <a:lstStyle/>
          <a:p>
            <a:r>
              <a:rPr lang="cs-CZ" dirty="0">
                <a:solidFill>
                  <a:schemeClr val="accent4"/>
                </a:solidFill>
              </a:rPr>
              <a:t>Složené sacharidy</a:t>
            </a:r>
            <a:endParaRPr lang="en-GB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1350129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3912" y="1126745"/>
            <a:ext cx="8496175" cy="3086100"/>
          </a:xfrm>
        </p:spPr>
        <p:txBody>
          <a:bodyPr/>
          <a:lstStyle/>
          <a:p>
            <a:pPr marL="457200" indent="-457200" eaLnBrk="1" hangingPunct="1">
              <a:spcBef>
                <a:spcPts val="0"/>
              </a:spcBef>
              <a:spcAft>
                <a:spcPts val="1620"/>
              </a:spcAft>
              <a:buFont typeface="Arial" pitchFamily="34" charset="0"/>
              <a:buChar char="•"/>
              <a:defRPr/>
            </a:pPr>
            <a:r>
              <a:rPr lang="cs-CZ" sz="1800" dirty="0">
                <a:solidFill>
                  <a:srgbClr val="5F5F5F"/>
                </a:solidFill>
              </a:rPr>
              <a:t>Jalovice při prvním zapuštění by měly dosahovat </a:t>
            </a:r>
            <a:r>
              <a:rPr lang="en-GB" sz="1800" dirty="0">
                <a:solidFill>
                  <a:srgbClr val="5F5F5F"/>
                </a:solidFill>
              </a:rPr>
              <a:t>55</a:t>
            </a:r>
            <a:r>
              <a:rPr lang="cs-CZ" sz="1800" dirty="0">
                <a:solidFill>
                  <a:srgbClr val="5F5F5F"/>
                </a:solidFill>
              </a:rPr>
              <a:t>% až</a:t>
            </a:r>
            <a:r>
              <a:rPr lang="en-GB" sz="1800" dirty="0">
                <a:solidFill>
                  <a:srgbClr val="5F5F5F"/>
                </a:solidFill>
              </a:rPr>
              <a:t> 60% </a:t>
            </a:r>
            <a:r>
              <a:rPr lang="cs-CZ" sz="1800" dirty="0">
                <a:solidFill>
                  <a:srgbClr val="5F5F5F"/>
                </a:solidFill>
              </a:rPr>
              <a:t>dospělé hmotnosti (3. laktace)</a:t>
            </a:r>
            <a:endParaRPr lang="en-GB" sz="1800" dirty="0">
              <a:solidFill>
                <a:srgbClr val="5F5F5F"/>
              </a:solidFill>
              <a:ea typeface="+mn-ea"/>
              <a:cs typeface="+mn-cs"/>
            </a:endParaRPr>
          </a:p>
        </p:txBody>
      </p:sp>
      <p:sp>
        <p:nvSpPr>
          <p:cNvPr id="21507" name="Rectangle 5"/>
          <p:cNvSpPr>
            <a:spLocks noGrp="1" noChangeArrowheads="1"/>
          </p:cNvSpPr>
          <p:nvPr>
            <p:ph type="title"/>
          </p:nvPr>
        </p:nvSpPr>
        <p:spPr>
          <a:xfrm>
            <a:off x="395288" y="44450"/>
            <a:ext cx="8229600" cy="836613"/>
          </a:xfrm>
        </p:spPr>
        <p:txBody>
          <a:bodyPr/>
          <a:lstStyle/>
          <a:p>
            <a:pPr eaLnBrk="1" hangingPunct="1">
              <a:defRPr/>
            </a:pPr>
            <a:r>
              <a:rPr lang="cs-CZ" dirty="0">
                <a:solidFill>
                  <a:srgbClr val="88B05A"/>
                </a:solidFill>
                <a:ea typeface="ＭＳ Ｐゴシック" charset="0"/>
                <a:cs typeface="+mj-cs"/>
              </a:rPr>
              <a:t>Význam rychlosti růstu</a:t>
            </a:r>
            <a:endParaRPr lang="en-GB" dirty="0">
              <a:solidFill>
                <a:srgbClr val="88B05A"/>
              </a:solidFill>
              <a:ea typeface="ＭＳ Ｐゴシック" charset="0"/>
              <a:cs typeface="+mj-cs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093610"/>
              </p:ext>
            </p:extLst>
          </p:nvPr>
        </p:nvGraphicFramePr>
        <p:xfrm>
          <a:off x="247661" y="2066290"/>
          <a:ext cx="8764556" cy="2346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769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821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053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0782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dirty="0">
                          <a:solidFill>
                            <a:schemeClr val="tx1"/>
                          </a:solidFill>
                        </a:rPr>
                        <a:t>Věk při prvním otelení (měsíce)</a:t>
                      </a:r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2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7828">
                <a:tc>
                  <a:txBody>
                    <a:bodyPr/>
                    <a:lstStyle/>
                    <a:p>
                      <a:r>
                        <a:rPr lang="cs-CZ" sz="1600" dirty="0"/>
                        <a:t>Dospělá tělesná hmotnost </a:t>
                      </a:r>
                      <a:r>
                        <a:rPr lang="en-GB" sz="1600" dirty="0"/>
                        <a:t>(kg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66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66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7828">
                <a:tc>
                  <a:txBody>
                    <a:bodyPr/>
                    <a:lstStyle/>
                    <a:p>
                      <a:r>
                        <a:rPr lang="cs-CZ" sz="1600" dirty="0"/>
                        <a:t>Březí</a:t>
                      </a:r>
                      <a:r>
                        <a:rPr lang="en-GB" sz="1600" dirty="0"/>
                        <a:t> (</a:t>
                      </a:r>
                      <a:r>
                        <a:rPr lang="cs-CZ" sz="1600" dirty="0"/>
                        <a:t>měsíce věku</a:t>
                      </a:r>
                      <a:r>
                        <a:rPr lang="en-GB" sz="160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1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7828">
                <a:tc>
                  <a:txBody>
                    <a:bodyPr/>
                    <a:lstStyle/>
                    <a:p>
                      <a:r>
                        <a:rPr lang="cs-CZ" sz="1600" dirty="0"/>
                        <a:t>Začátek zapouštění </a:t>
                      </a:r>
                      <a:r>
                        <a:rPr lang="en-GB" sz="1600" dirty="0"/>
                        <a:t>(</a:t>
                      </a:r>
                      <a:r>
                        <a:rPr lang="cs-CZ" sz="1600" dirty="0"/>
                        <a:t>měsíc věku</a:t>
                      </a:r>
                      <a:r>
                        <a:rPr lang="en-GB" sz="160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13-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17-1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7828">
                <a:tc>
                  <a:txBody>
                    <a:bodyPr/>
                    <a:lstStyle/>
                    <a:p>
                      <a:r>
                        <a:rPr lang="cs-CZ" sz="1600" dirty="0"/>
                        <a:t>Hmotnost při zapuštění </a:t>
                      </a:r>
                      <a:r>
                        <a:rPr lang="en-GB" sz="1600" dirty="0"/>
                        <a:t>(kg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37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37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7828">
                <a:tc>
                  <a:txBody>
                    <a:bodyPr/>
                    <a:lstStyle/>
                    <a:p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330kg/425d=0.77kg/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/>
                        <a:t>330kg/547d=0.6kg/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7828">
                <a:tc>
                  <a:txBody>
                    <a:bodyPr/>
                    <a:lstStyle/>
                    <a:p>
                      <a:r>
                        <a:rPr lang="cs-CZ" sz="1600" b="1" dirty="0"/>
                        <a:t>Požadovaný přírůstek </a:t>
                      </a:r>
                      <a:r>
                        <a:rPr lang="en-GB" sz="1600" b="1" dirty="0"/>
                        <a:t>(kg/d</a:t>
                      </a:r>
                      <a:r>
                        <a:rPr lang="cs-CZ" sz="1600" b="1" dirty="0"/>
                        <a:t>en</a:t>
                      </a:r>
                      <a:r>
                        <a:rPr lang="en-GB" sz="1600" b="1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1" dirty="0"/>
                        <a:t>0.75-0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1" dirty="0"/>
                        <a:t>0.6-0.6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0676301"/>
              </p:ext>
            </p:extLst>
          </p:nvPr>
        </p:nvGraphicFramePr>
        <p:xfrm>
          <a:off x="875763" y="4413250"/>
          <a:ext cx="6890198" cy="23304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721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180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61055">
                <a:tc gridSpan="2">
                  <a:txBody>
                    <a:bodyPr/>
                    <a:lstStyle/>
                    <a:p>
                      <a:r>
                        <a:rPr lang="cs-CZ" sz="1600" dirty="0">
                          <a:solidFill>
                            <a:schemeClr val="tx1"/>
                          </a:solidFill>
                        </a:rPr>
                        <a:t>Telata do odstavu</a:t>
                      </a:r>
                      <a:r>
                        <a:rPr lang="en-GB" sz="1600" baseline="0" dirty="0">
                          <a:solidFill>
                            <a:schemeClr val="tx1"/>
                          </a:solidFill>
                        </a:rPr>
                        <a:t>:</a:t>
                      </a:r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86227">
                <a:tc>
                  <a:txBody>
                    <a:bodyPr/>
                    <a:lstStyle/>
                    <a:p>
                      <a:r>
                        <a:rPr lang="cs-CZ" sz="1600" dirty="0">
                          <a:solidFill>
                            <a:schemeClr val="tx1"/>
                          </a:solidFill>
                        </a:rPr>
                        <a:t>Porodní hmotnost </a:t>
                      </a:r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(kg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cs-CZ" sz="1600" dirty="0">
                          <a:solidFill>
                            <a:schemeClr val="tx1"/>
                          </a:solidFill>
                        </a:rPr>
                        <a:t>Denní přírůstek </a:t>
                      </a:r>
                      <a:r>
                        <a:rPr lang="en-GB" sz="1600" dirty="0">
                          <a:solidFill>
                            <a:schemeClr val="tx1"/>
                          </a:solidFill>
                        </a:rPr>
                        <a:t>(kg/d)</a:t>
                      </a:r>
                      <a:r>
                        <a:rPr lang="en-GB" sz="160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cs-CZ" sz="1600" dirty="0">
                          <a:solidFill>
                            <a:schemeClr val="tx1"/>
                          </a:solidFill>
                        </a:rPr>
                        <a:t>potřebný </a:t>
                      </a:r>
                      <a:r>
                        <a:rPr lang="cs-CZ" sz="1600" baseline="0" dirty="0">
                          <a:solidFill>
                            <a:schemeClr val="tx1"/>
                          </a:solidFill>
                        </a:rPr>
                        <a:t>ke zdvojnásobení porodní hmotnosti </a:t>
                      </a:r>
                      <a:r>
                        <a:rPr lang="en-GB" sz="1600" baseline="0" dirty="0">
                          <a:solidFill>
                            <a:schemeClr val="tx1"/>
                          </a:solidFill>
                        </a:rPr>
                        <a:t>56</a:t>
                      </a:r>
                      <a:r>
                        <a:rPr lang="cs-CZ" sz="1600" baseline="0" dirty="0">
                          <a:solidFill>
                            <a:schemeClr val="tx1"/>
                          </a:solidFill>
                        </a:rPr>
                        <a:t>.</a:t>
                      </a:r>
                      <a:r>
                        <a:rPr lang="en-GB" sz="1600" baseline="0" dirty="0">
                          <a:solidFill>
                            <a:schemeClr val="tx1"/>
                          </a:solidFill>
                        </a:rPr>
                        <a:t>d</a:t>
                      </a:r>
                      <a:r>
                        <a:rPr lang="cs-CZ" sz="1600" baseline="0" dirty="0">
                          <a:solidFill>
                            <a:schemeClr val="tx1"/>
                          </a:solidFill>
                        </a:rPr>
                        <a:t>en</a:t>
                      </a:r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055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3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0.6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1055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4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0.7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1055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0.8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217478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677BB3-E4D7-4D3B-9793-5A3F310994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7" y="0"/>
            <a:ext cx="8593541" cy="836613"/>
          </a:xfrm>
        </p:spPr>
        <p:txBody>
          <a:bodyPr/>
          <a:lstStyle/>
          <a:p>
            <a:r>
              <a:rPr lang="cs-CZ" sz="2400" dirty="0"/>
              <a:t>Mléčná náhražka pro telata s vysokým obsahem tuku omezuje příjem a trávení </a:t>
            </a:r>
            <a:r>
              <a:rPr lang="cs-CZ" sz="2400" dirty="0" err="1"/>
              <a:t>startérové</a:t>
            </a:r>
            <a:r>
              <a:rPr lang="cs-CZ" sz="2400" dirty="0"/>
              <a:t> krmné směsi</a:t>
            </a:r>
            <a:endParaRPr lang="en-GB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D7EF89-ECD5-44EB-8953-570FCE1730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13" y="1212993"/>
            <a:ext cx="8207375" cy="4525962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cs-CZ" sz="1400" dirty="0"/>
              <a:t>„naší hypotézou je, že vysoká koncentrace tuku omezí příjem startéru, stravitelnost sušiny startéru a přírůstky.“</a:t>
            </a:r>
            <a:endParaRPr lang="en-GB" sz="1400" dirty="0"/>
          </a:p>
          <a:p>
            <a:pPr>
              <a:buFont typeface="Arial" panose="020B0604020202020204" pitchFamily="34" charset="0"/>
              <a:buChar char="•"/>
            </a:pPr>
            <a:r>
              <a:rPr lang="cs-CZ" sz="1400" dirty="0"/>
              <a:t>Čtyři skupiny telat</a:t>
            </a:r>
            <a:r>
              <a:rPr lang="en-GB" sz="1400" dirty="0"/>
              <a:t>, </a:t>
            </a:r>
            <a:r>
              <a:rPr lang="cs-CZ" sz="1400" dirty="0"/>
              <a:t>všechny </a:t>
            </a:r>
            <a:r>
              <a:rPr lang="en-GB" sz="1400" dirty="0"/>
              <a:t>27% </a:t>
            </a:r>
            <a:r>
              <a:rPr lang="cs-CZ" sz="1400" dirty="0" err="1"/>
              <a:t>NL</a:t>
            </a:r>
            <a:r>
              <a:rPr lang="cs-CZ" sz="1400" dirty="0"/>
              <a:t> </a:t>
            </a:r>
            <a:r>
              <a:rPr lang="en-GB" sz="1400" dirty="0"/>
              <a:t>(</a:t>
            </a:r>
            <a:r>
              <a:rPr lang="cs-CZ" sz="1400" dirty="0"/>
              <a:t>syrovátkový protein</a:t>
            </a:r>
            <a:r>
              <a:rPr lang="en-GB" sz="1400" dirty="0"/>
              <a:t>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1200" dirty="0"/>
              <a:t>14, 17, 20, 23% </a:t>
            </a:r>
            <a:r>
              <a:rPr lang="cs-CZ" sz="1200" dirty="0"/>
              <a:t>tuku </a:t>
            </a:r>
            <a:r>
              <a:rPr lang="en-GB" sz="1200" dirty="0"/>
              <a:t>(</a:t>
            </a:r>
            <a:r>
              <a:rPr lang="cs-CZ" sz="1200" dirty="0"/>
              <a:t>sádlo</a:t>
            </a:r>
            <a:r>
              <a:rPr lang="en-GB" sz="1200" dirty="0"/>
              <a:t>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cs-CZ" sz="1400" dirty="0" err="1"/>
              <a:t>MN</a:t>
            </a:r>
            <a:r>
              <a:rPr lang="cs-CZ" sz="1400" dirty="0"/>
              <a:t> podávána v množství </a:t>
            </a:r>
            <a:r>
              <a:rPr lang="en-GB" sz="1400" dirty="0" err="1"/>
              <a:t>660g</a:t>
            </a:r>
            <a:r>
              <a:rPr lang="en-GB" sz="1400" dirty="0"/>
              <a:t>/d, </a:t>
            </a:r>
            <a:r>
              <a:rPr lang="cs-CZ" sz="1400" dirty="0"/>
              <a:t>odstav </a:t>
            </a:r>
            <a:r>
              <a:rPr lang="en-GB" sz="1400" dirty="0"/>
              <a:t>28</a:t>
            </a:r>
            <a:r>
              <a:rPr lang="cs-CZ" sz="1400" dirty="0"/>
              <a:t>. </a:t>
            </a:r>
            <a:r>
              <a:rPr lang="en-GB" sz="1400" dirty="0"/>
              <a:t>d</a:t>
            </a:r>
            <a:r>
              <a:rPr lang="cs-CZ" sz="1400" dirty="0"/>
              <a:t>en</a:t>
            </a:r>
            <a:endParaRPr lang="en-GB" sz="1400" dirty="0"/>
          </a:p>
          <a:p>
            <a:pPr>
              <a:buFont typeface="Arial" panose="020B0604020202020204" pitchFamily="34" charset="0"/>
              <a:buChar char="•"/>
            </a:pPr>
            <a:r>
              <a:rPr lang="cs-CZ" sz="1400" dirty="0"/>
              <a:t>Vysoká koncentrace tuku v </a:t>
            </a:r>
            <a:r>
              <a:rPr lang="cs-CZ" sz="1400" dirty="0" err="1"/>
              <a:t>MN</a:t>
            </a:r>
            <a:r>
              <a:rPr lang="cs-CZ" sz="1400" dirty="0"/>
              <a:t> snížila stravitelnost, příjem krmné směsi a přírůstek</a:t>
            </a:r>
            <a:endParaRPr lang="en-GB" sz="14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DEAD545-F18C-4F8D-A2B4-2685F8A557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7601" y="2864023"/>
            <a:ext cx="5538658" cy="332025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1D0C321-B150-41ED-A804-0B1EE718F4AB}"/>
              </a:ext>
            </a:extLst>
          </p:cNvPr>
          <p:cNvSpPr txBox="1"/>
          <p:nvPr/>
        </p:nvSpPr>
        <p:spPr>
          <a:xfrm>
            <a:off x="144087" y="6462113"/>
            <a:ext cx="254589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Hill et a. (2009) J. Dairy Sci. 92: 5147</a:t>
            </a:r>
          </a:p>
        </p:txBody>
      </p:sp>
    </p:spTree>
    <p:extLst>
      <p:ext uri="{BB962C8B-B14F-4D97-AF65-F5344CB8AC3E}">
        <p14:creationId xmlns:p14="http://schemas.microsoft.com/office/powerpoint/2010/main" val="4108912008"/>
      </p:ext>
    </p:extLst>
  </p:cSld>
  <p:clrMapOvr>
    <a:masterClrMapping/>
  </p:clrMapOvr>
  <p:transition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6C9874-5B6D-451C-8D8A-0A2447CFD9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Tuk a chladné počasí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91959D4-CB24-41E2-B8B1-8E2D6960C6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44355" y="418306"/>
            <a:ext cx="3356489" cy="270474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091FE6D-699F-499A-A27D-3A638DD5B3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63524" y="3203433"/>
            <a:ext cx="3356489" cy="252383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7A13659-284E-4074-B4A6-A1257D6EECE1}"/>
              </a:ext>
            </a:extLst>
          </p:cNvPr>
          <p:cNvSpPr txBox="1"/>
          <p:nvPr/>
        </p:nvSpPr>
        <p:spPr>
          <a:xfrm>
            <a:off x="5544355" y="5765825"/>
            <a:ext cx="2660024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GB" sz="1400" dirty="0"/>
              <a:t>British Dairying , </a:t>
            </a:r>
            <a:r>
              <a:rPr lang="cs-CZ" sz="1400" dirty="0"/>
              <a:t>prosinec</a:t>
            </a:r>
            <a:r>
              <a:rPr lang="en-GB" sz="1400" dirty="0"/>
              <a:t> 2018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7E0CE21-0B77-41CC-8747-993C8656842B}"/>
              </a:ext>
            </a:extLst>
          </p:cNvPr>
          <p:cNvSpPr txBox="1"/>
          <p:nvPr/>
        </p:nvSpPr>
        <p:spPr>
          <a:xfrm>
            <a:off x="395288" y="2767280"/>
            <a:ext cx="4848896" cy="129266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cs-CZ" sz="1600" dirty="0"/>
              <a:t>„Krmení většího množství vhodně vyváženého krmiva, které splňuje potřeby energie i bílkovin a podporuje přírůstek hmotnosti, se jeví jako nejsystematičtější řešení chladového stresu</a:t>
            </a:r>
            <a:r>
              <a:rPr lang="en-GB" sz="1600" dirty="0"/>
              <a:t>.’</a:t>
            </a:r>
          </a:p>
          <a:p>
            <a:r>
              <a:rPr lang="en-GB" sz="1400" dirty="0"/>
              <a:t>Van </a:t>
            </a:r>
            <a:r>
              <a:rPr lang="en-GB" sz="1400" dirty="0" err="1"/>
              <a:t>Amburgh</a:t>
            </a:r>
            <a:r>
              <a:rPr lang="en-GB" sz="1400" dirty="0"/>
              <a:t>, Cornell Nutrition Conference</a:t>
            </a:r>
            <a:endParaRPr lang="en-GB" sz="16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C580450-3FC8-42D7-A452-396E9B89E40D}"/>
              </a:ext>
            </a:extLst>
          </p:cNvPr>
          <p:cNvSpPr txBox="1"/>
          <p:nvPr/>
        </p:nvSpPr>
        <p:spPr>
          <a:xfrm>
            <a:off x="395288" y="1102668"/>
            <a:ext cx="4848896" cy="132343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/>
              <a:t>Potřeba energie je za chladného počasí vyšší.</a:t>
            </a: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/>
              <a:t>Zvýšení podílu tuku na úkor laktózy má pouze malý dopad na obsah energie v mléčné náhražce.</a:t>
            </a: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/>
              <a:t>Vhodnější je zvýšit množství mléčné náhražky</a:t>
            </a:r>
            <a:r>
              <a:rPr lang="en-GB" sz="1600" dirty="0"/>
              <a:t>.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FDF0E072-49BF-4148-B876-9C22ED5643F3}"/>
              </a:ext>
            </a:extLst>
          </p:cNvPr>
          <p:cNvSpPr txBox="1"/>
          <p:nvPr/>
        </p:nvSpPr>
        <p:spPr>
          <a:xfrm>
            <a:off x="5544355" y="3796055"/>
            <a:ext cx="3316311" cy="196977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sz="1200" b="1" dirty="0"/>
              <a:t>Praktické opatření</a:t>
            </a:r>
          </a:p>
          <a:p>
            <a:r>
              <a:rPr lang="cs-CZ" sz="1200" dirty="0"/>
              <a:t>V chladném počasí je u telat mladších tří týdnů potřeba přidat </a:t>
            </a:r>
            <a:r>
              <a:rPr lang="cs-CZ" sz="1200" dirty="0" err="1"/>
              <a:t>100g</a:t>
            </a:r>
            <a:r>
              <a:rPr lang="cs-CZ" sz="1200" dirty="0"/>
              <a:t> suché mléčné směsi/den na každý pokles teploty o </a:t>
            </a:r>
            <a:r>
              <a:rPr lang="cs-CZ" sz="1200" dirty="0" err="1"/>
              <a:t>10°C</a:t>
            </a:r>
            <a:r>
              <a:rPr lang="cs-CZ" sz="1200" dirty="0"/>
              <a:t> pod </a:t>
            </a:r>
            <a:r>
              <a:rPr lang="cs-CZ" sz="1200" dirty="0" err="1"/>
              <a:t>20°C.Například</a:t>
            </a:r>
            <a:r>
              <a:rPr lang="cs-CZ" sz="1200" dirty="0"/>
              <a:t> když je venkovní teplota </a:t>
            </a:r>
            <a:r>
              <a:rPr lang="cs-CZ" sz="1200" dirty="0" err="1"/>
              <a:t>10°C</a:t>
            </a:r>
            <a:r>
              <a:rPr lang="cs-CZ" sz="1200" dirty="0"/>
              <a:t>, podávejte o </a:t>
            </a:r>
            <a:r>
              <a:rPr lang="cs-CZ" sz="1200" dirty="0" err="1"/>
              <a:t>100g</a:t>
            </a:r>
            <a:r>
              <a:rPr lang="cs-CZ" sz="1200" dirty="0"/>
              <a:t> mléčné náhražky na den více. Toho lze dosáhnout podáním většího objemu tekutého nápoje nebo zvýšením koncentrace.</a:t>
            </a:r>
          </a:p>
          <a:p>
            <a:endParaRPr lang="cs-CZ" sz="1400" dirty="0"/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28BAE8D8-3988-4302-8569-1F9511B02C21}"/>
              </a:ext>
            </a:extLst>
          </p:cNvPr>
          <p:cNvSpPr txBox="1"/>
          <p:nvPr/>
        </p:nvSpPr>
        <p:spPr>
          <a:xfrm>
            <a:off x="5563524" y="1851696"/>
            <a:ext cx="3055260" cy="193899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6">
                    <a:lumMod val="75000"/>
                  </a:schemeClr>
                </a:solidFill>
              </a:rPr>
              <a:t>Buďte připraveni </a:t>
            </a:r>
            <a:br>
              <a:rPr lang="cs-CZ" b="1" dirty="0">
                <a:solidFill>
                  <a:schemeClr val="accent6">
                    <a:lumMod val="75000"/>
                  </a:schemeClr>
                </a:solidFill>
              </a:rPr>
            </a:br>
            <a:r>
              <a:rPr lang="cs-CZ" b="1" dirty="0">
                <a:solidFill>
                  <a:schemeClr val="accent6">
                    <a:lumMod val="75000"/>
                  </a:schemeClr>
                </a:solidFill>
              </a:rPr>
              <a:t>na chladné počasí</a:t>
            </a:r>
          </a:p>
          <a:p>
            <a:r>
              <a:rPr lang="cs-CZ" sz="1200" dirty="0"/>
              <a:t>Výzkumný pracovník společnosti </a:t>
            </a:r>
            <a:r>
              <a:rPr lang="cs-CZ" sz="1200" dirty="0" err="1"/>
              <a:t>Volac</a:t>
            </a:r>
            <a:r>
              <a:rPr lang="cs-CZ" sz="1200" dirty="0"/>
              <a:t> </a:t>
            </a:r>
          </a:p>
          <a:p>
            <a:r>
              <a:rPr lang="cs-CZ" sz="1200" dirty="0"/>
              <a:t>Dr. Jessica </a:t>
            </a:r>
            <a:r>
              <a:rPr lang="cs-CZ" sz="1200" dirty="0" err="1"/>
              <a:t>Cooke</a:t>
            </a:r>
            <a:endParaRPr lang="cs-CZ" sz="1200" dirty="0"/>
          </a:p>
          <a:p>
            <a:endParaRPr lang="cs-CZ" sz="1200" dirty="0"/>
          </a:p>
          <a:p>
            <a:r>
              <a:rPr lang="cs-CZ" sz="1200" dirty="0"/>
              <a:t>V obdobích chladného počasí telata potřebují více energie, aby si udržela tělesnou teplotu. Zbývá tedy méně energie pro růst a imunitní systém.</a:t>
            </a:r>
          </a:p>
        </p:txBody>
      </p:sp>
    </p:spTree>
    <p:extLst>
      <p:ext uri="{BB962C8B-B14F-4D97-AF65-F5344CB8AC3E}">
        <p14:creationId xmlns:p14="http://schemas.microsoft.com/office/powerpoint/2010/main" val="3293286399"/>
      </p:ext>
    </p:extLst>
  </p:cSld>
  <p:clrMapOvr>
    <a:masterClrMapping/>
  </p:clrMapOvr>
  <p:transition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3">
            <a:extLst>
              <a:ext uri="{FF2B5EF4-FFF2-40B4-BE49-F238E27FC236}">
                <a16:creationId xmlns:a16="http://schemas.microsoft.com/office/drawing/2014/main" id="{D84A8C04-B08B-4261-B30D-FA1319635548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cs-CZ" altLang="en-US" sz="2400" dirty="0"/>
              <a:t>Profil mastných kyselin v mléce: souhrn</a:t>
            </a:r>
            <a:endParaRPr lang="en-GB" altLang="en-US" sz="2400" dirty="0"/>
          </a:p>
        </p:txBody>
      </p:sp>
      <p:graphicFrame>
        <p:nvGraphicFramePr>
          <p:cNvPr id="49155" name="Rectangle 2" hidden="1">
            <a:extLst>
              <a:ext uri="{FF2B5EF4-FFF2-40B4-BE49-F238E27FC236}">
                <a16:creationId xmlns:a16="http://schemas.microsoft.com/office/drawing/2014/main" id="{CE4ACA92-8C35-465A-89C0-A373095D0B71}"/>
              </a:ext>
            </a:extLst>
          </p:cNvPr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49155" name="Rectangle 2" hidden="1">
                        <a:extLst>
                          <a:ext uri="{FF2B5EF4-FFF2-40B4-BE49-F238E27FC236}">
                            <a16:creationId xmlns:a16="http://schemas.microsoft.com/office/drawing/2014/main" id="{CE4ACA92-8C35-465A-89C0-A373095D0B71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97119DF5-C49C-4FF1-AEAD-463EDA2740D1}"/>
              </a:ext>
            </a:extLst>
          </p:cNvPr>
          <p:cNvGraphicFramePr/>
          <p:nvPr/>
        </p:nvGraphicFramePr>
        <p:xfrm>
          <a:off x="971600" y="1340768"/>
          <a:ext cx="6804248" cy="47525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9157" name="TextBox 7">
            <a:extLst>
              <a:ext uri="{FF2B5EF4-FFF2-40B4-BE49-F238E27FC236}">
                <a16:creationId xmlns:a16="http://schemas.microsoft.com/office/drawing/2014/main" id="{52B0CE2A-4031-4CAF-97D3-FE0B0E64869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6372225"/>
            <a:ext cx="45720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r>
              <a:rPr lang="en-GB" altLang="en-US" sz="1000"/>
              <a:t>Jensen (2002) J. Dairy Sci. 85:295–350,  using data for French butter of  Wolff  et al. (1995) J. Am. Oil Chem. Soc. 72: 1471-1483</a:t>
            </a:r>
          </a:p>
        </p:txBody>
      </p:sp>
    </p:spTree>
  </p:cSld>
  <p:clrMapOvr>
    <a:masterClrMapping/>
  </p:clrMapOvr>
  <p:transition/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Title 1">
            <a:extLst>
              <a:ext uri="{FF2B5EF4-FFF2-40B4-BE49-F238E27FC236}">
                <a16:creationId xmlns:a16="http://schemas.microsoft.com/office/drawing/2014/main" id="{56C9DAF8-B09D-4B91-8309-9CE698D830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 err="1"/>
              <a:t>C4:0</a:t>
            </a:r>
            <a:r>
              <a:rPr lang="en-GB" altLang="en-US" dirty="0"/>
              <a:t> (</a:t>
            </a:r>
            <a:r>
              <a:rPr lang="cs-CZ" altLang="en-US" dirty="0"/>
              <a:t>kyselina máselná</a:t>
            </a:r>
            <a:r>
              <a:rPr lang="en-GB" altLang="en-US" dirty="0"/>
              <a:t>)</a:t>
            </a:r>
            <a:endParaRPr lang="nl-NL" altLang="en-US" dirty="0"/>
          </a:p>
        </p:txBody>
      </p:sp>
      <p:sp>
        <p:nvSpPr>
          <p:cNvPr id="51203" name="Content Placeholder 2">
            <a:extLst>
              <a:ext uri="{FF2B5EF4-FFF2-40B4-BE49-F238E27FC236}">
                <a16:creationId xmlns:a16="http://schemas.microsoft.com/office/drawing/2014/main" id="{B4FB14DB-20A8-4ED0-A9BF-D3E0F6EC6D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Tx/>
              <a:buChar char="•"/>
            </a:pPr>
            <a:r>
              <a:rPr lang="cs-CZ" altLang="en-US" sz="1800" dirty="0" err="1"/>
              <a:t>Pregastrická</a:t>
            </a:r>
            <a:r>
              <a:rPr lang="cs-CZ" altLang="en-US" sz="1800" dirty="0"/>
              <a:t> esteráza </a:t>
            </a:r>
            <a:r>
              <a:rPr lang="en-GB" altLang="en-US" sz="1800" dirty="0"/>
              <a:t>(</a:t>
            </a:r>
            <a:r>
              <a:rPr lang="cs-CZ" altLang="en-US" sz="1800" dirty="0"/>
              <a:t>ve slinách</a:t>
            </a:r>
            <a:r>
              <a:rPr lang="en-GB" altLang="en-US" sz="1800" dirty="0"/>
              <a:t>)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cs-CZ" altLang="en-US" sz="1600" dirty="0"/>
              <a:t>Přednostně se uvolňuje </a:t>
            </a:r>
            <a:r>
              <a:rPr lang="en-GB" altLang="en-US" sz="1600" dirty="0" err="1"/>
              <a:t>C4:0</a:t>
            </a:r>
            <a:r>
              <a:rPr lang="en-GB" altLang="en-US" sz="1600" dirty="0"/>
              <a:t> </a:t>
            </a:r>
            <a:endParaRPr lang="en-GB" altLang="en-US" dirty="0"/>
          </a:p>
          <a:p>
            <a:pPr>
              <a:buFontTx/>
              <a:buChar char="•"/>
            </a:pPr>
            <a:r>
              <a:rPr lang="cs-CZ" altLang="en-US" sz="1800" dirty="0"/>
              <a:t>Částečně hydrolyzovaný mléčný tuk je obohacen</a:t>
            </a:r>
            <a:br>
              <a:rPr lang="cs-CZ" altLang="en-US" sz="1800" dirty="0"/>
            </a:br>
            <a:r>
              <a:rPr lang="cs-CZ" altLang="en-US" sz="1800" dirty="0"/>
              <a:t>volnou </a:t>
            </a:r>
            <a:r>
              <a:rPr lang="en-GB" altLang="en-US" sz="1800" dirty="0" err="1"/>
              <a:t>C4:0</a:t>
            </a:r>
            <a:endParaRPr lang="en-GB" altLang="en-US" sz="1800" dirty="0"/>
          </a:p>
          <a:p>
            <a:pPr>
              <a:buFontTx/>
              <a:buChar char="•"/>
            </a:pPr>
            <a:endParaRPr lang="en-GB" altLang="en-US" sz="1800" dirty="0"/>
          </a:p>
          <a:p>
            <a:pPr lvl="1">
              <a:buFont typeface="Arial" panose="020B0604020202020204" pitchFamily="34" charset="0"/>
              <a:buChar char="•"/>
            </a:pPr>
            <a:endParaRPr lang="en-GB" altLang="en-US" sz="1600" dirty="0"/>
          </a:p>
        </p:txBody>
      </p:sp>
      <p:sp>
        <p:nvSpPr>
          <p:cNvPr id="51204" name="TextBox 6">
            <a:extLst>
              <a:ext uri="{FF2B5EF4-FFF2-40B4-BE49-F238E27FC236}">
                <a16:creationId xmlns:a16="http://schemas.microsoft.com/office/drawing/2014/main" id="{19065495-3EDE-49A3-8F59-121E44FDA6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388" y="6434138"/>
            <a:ext cx="49276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r>
              <a:rPr lang="en-GB" altLang="en-US" sz="1000" dirty="0"/>
              <a:t>O’Connor et al. (1996)</a:t>
            </a:r>
          </a:p>
          <a:p>
            <a:r>
              <a:rPr lang="en-GB" altLang="en-US" sz="1000" dirty="0"/>
              <a:t>Sun et al. (2002) Chem. Biol. Inter. 140: 185-198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D694B6F-CB99-4692-AB4B-5D392E01BD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288" y="2485624"/>
            <a:ext cx="5386367" cy="3150002"/>
          </a:xfrm>
          <a:prstGeom prst="rect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8976549-78EC-4BE0-A1C8-710053D57B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81553" y="418306"/>
            <a:ext cx="2046913" cy="2717751"/>
          </a:xfrm>
          <a:prstGeom prst="rect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</p:pic>
      <p:sp>
        <p:nvSpPr>
          <p:cNvPr id="51207" name="TextBox 10">
            <a:extLst>
              <a:ext uri="{FF2B5EF4-FFF2-40B4-BE49-F238E27FC236}">
                <a16:creationId xmlns:a16="http://schemas.microsoft.com/office/drawing/2014/main" id="{6ACAC43E-E7E9-4B4A-963B-D83BD3A15C7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65591" y="3765572"/>
            <a:ext cx="2951163" cy="120032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xtLst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r>
              <a:rPr lang="cs-CZ" altLang="en-US" sz="1200" dirty="0"/>
              <a:t>Částečně hydrolyzovaný mléčný tuk je účinnější proti gramnegativním bakteriím (</a:t>
            </a:r>
            <a:r>
              <a:rPr lang="en-GB" altLang="en-US" sz="1200" i="1" dirty="0"/>
              <a:t>K</a:t>
            </a:r>
            <a:r>
              <a:rPr lang="cs-CZ" altLang="en-US" sz="1200" i="1" dirty="0" err="1"/>
              <a:t>lebsiella</a:t>
            </a:r>
            <a:r>
              <a:rPr lang="cs-CZ" altLang="en-US" sz="1200" i="1" dirty="0"/>
              <a:t> </a:t>
            </a:r>
            <a:r>
              <a:rPr lang="en-GB" altLang="en-US" sz="1200" i="1" dirty="0"/>
              <a:t>pneumoniae </a:t>
            </a:r>
            <a:r>
              <a:rPr lang="cs-CZ" altLang="en-US" sz="1200" dirty="0"/>
              <a:t>jako modelový organismus</a:t>
            </a:r>
            <a:r>
              <a:rPr lang="en-GB" altLang="en-US" sz="1200" dirty="0"/>
              <a:t>) </a:t>
            </a:r>
            <a:r>
              <a:rPr lang="cs-CZ" altLang="en-US" sz="1200" dirty="0"/>
              <a:t>než proti grampozitivním</a:t>
            </a:r>
            <a:r>
              <a:rPr lang="en-GB" altLang="en-US" sz="1200" dirty="0"/>
              <a:t> (</a:t>
            </a:r>
            <a:r>
              <a:rPr lang="en-GB" altLang="en-US" sz="1200" i="1" dirty="0"/>
              <a:t>E</a:t>
            </a:r>
            <a:r>
              <a:rPr lang="cs-CZ" altLang="en-US" sz="1200" i="1" dirty="0" err="1"/>
              <a:t>nterococcus</a:t>
            </a:r>
            <a:r>
              <a:rPr lang="cs-CZ" altLang="en-US" sz="1200" i="1" dirty="0"/>
              <a:t> </a:t>
            </a:r>
            <a:r>
              <a:rPr lang="en-GB" altLang="en-US" sz="1200" i="1" dirty="0"/>
              <a:t>faecalis</a:t>
            </a:r>
            <a:r>
              <a:rPr lang="en-GB" altLang="en-US" sz="1200" dirty="0"/>
              <a:t> </a:t>
            </a:r>
            <a:r>
              <a:rPr lang="cs-CZ" altLang="en-US" sz="1200" dirty="0"/>
              <a:t>jako model</a:t>
            </a:r>
            <a:r>
              <a:rPr lang="en-GB" altLang="en-US" sz="1200" dirty="0"/>
              <a:t>)</a:t>
            </a: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5D40DAB6-FD3F-46B4-A673-50D1FA2D8D70}"/>
              </a:ext>
            </a:extLst>
          </p:cNvPr>
          <p:cNvCxnSpPr/>
          <p:nvPr/>
        </p:nvCxnSpPr>
        <p:spPr>
          <a:xfrm>
            <a:off x="6458751" y="2079933"/>
            <a:ext cx="212501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226" name="Picture 5">
            <a:extLst>
              <a:ext uri="{FF2B5EF4-FFF2-40B4-BE49-F238E27FC236}">
                <a16:creationId xmlns:a16="http://schemas.microsoft.com/office/drawing/2014/main" id="{46528416-E6FB-4BD6-A147-D4C32B2341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1269" y="1879600"/>
            <a:ext cx="5992244" cy="35996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2227" name="Title 1">
            <a:extLst>
              <a:ext uri="{FF2B5EF4-FFF2-40B4-BE49-F238E27FC236}">
                <a16:creationId xmlns:a16="http://schemas.microsoft.com/office/drawing/2014/main" id="{402F35FE-EE91-440B-B705-C54244E8FD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 err="1"/>
              <a:t>C4:0</a:t>
            </a:r>
            <a:r>
              <a:rPr lang="en-GB" altLang="en-US" dirty="0"/>
              <a:t> (</a:t>
            </a:r>
            <a:r>
              <a:rPr lang="cs-CZ" altLang="en-US" dirty="0"/>
              <a:t>z přidaného butyrátu sodného</a:t>
            </a:r>
            <a:r>
              <a:rPr lang="en-GB" altLang="en-US" dirty="0"/>
              <a:t>)</a:t>
            </a:r>
            <a:endParaRPr lang="nl-NL" altLang="en-US" dirty="0"/>
          </a:p>
        </p:txBody>
      </p:sp>
      <p:sp>
        <p:nvSpPr>
          <p:cNvPr id="52228" name="TextBox 6">
            <a:extLst>
              <a:ext uri="{FF2B5EF4-FFF2-40B4-BE49-F238E27FC236}">
                <a16:creationId xmlns:a16="http://schemas.microsoft.com/office/drawing/2014/main" id="{49F7B5F0-BD8E-40B3-9946-ECBDFC2F6DE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5978525"/>
            <a:ext cx="3786188" cy="70802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r>
              <a:rPr lang="en-GB" altLang="en-US" sz="1000"/>
              <a:t>Hill et al. (2007) Prof. Anim. Sci. 23: 135-143</a:t>
            </a:r>
          </a:p>
          <a:p>
            <a:r>
              <a:rPr lang="en-GB" altLang="en-US" sz="1000"/>
              <a:t>Esselburn et al. (2013) J. Dairy Sci. 96: 5826-5835</a:t>
            </a:r>
          </a:p>
          <a:p>
            <a:r>
              <a:rPr lang="en-GB" altLang="en-US" sz="1000"/>
              <a:t>Guilloteau et al. (2009) J. Dairy Sci. 92: 1038-1049</a:t>
            </a:r>
          </a:p>
          <a:p>
            <a:r>
              <a:rPr lang="en-GB" altLang="en-US" sz="1000"/>
              <a:t>Hill et al. (2011) J. Dairy Sci. 94: 3936-3948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9392F5B-C41C-483B-A0B6-86C95056D91F}"/>
              </a:ext>
            </a:extLst>
          </p:cNvPr>
          <p:cNvSpPr txBox="1"/>
          <p:nvPr/>
        </p:nvSpPr>
        <p:spPr>
          <a:xfrm>
            <a:off x="218025" y="1294171"/>
            <a:ext cx="2750555" cy="203132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n-GB" sz="1400" dirty="0"/>
              <a:t>C4:0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cs-CZ" sz="1400" dirty="0" err="1"/>
              <a:t>Anitimikrobiální</a:t>
            </a:r>
            <a:r>
              <a:rPr lang="cs-CZ" sz="1400" dirty="0"/>
              <a:t> (ve slezu)</a:t>
            </a:r>
            <a:endParaRPr lang="en-GB" sz="1400" dirty="0"/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cs-CZ" sz="1400" dirty="0"/>
              <a:t>Stimuluje tok krve ve střevech a proliferaci střevních buněk</a:t>
            </a:r>
            <a:endParaRPr lang="en-GB" sz="1400" dirty="0"/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cs-CZ" sz="1400" dirty="0"/>
              <a:t>Inhibuje střevní apoptózu</a:t>
            </a:r>
            <a:endParaRPr lang="en-GB" sz="1400" dirty="0"/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cs-CZ" sz="1400" dirty="0"/>
              <a:t>Podporuje absorpci vody</a:t>
            </a:r>
            <a:endParaRPr lang="en-GB" sz="1400" dirty="0"/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cs-CZ" sz="1400" dirty="0"/>
              <a:t>Podporuje syntézu gastrointestinálních hormonů</a:t>
            </a:r>
            <a:endParaRPr lang="en-GB" sz="1400" dirty="0"/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cs-CZ" sz="1400" dirty="0"/>
              <a:t>Zvyšuje sekreci enzymů</a:t>
            </a:r>
            <a:endParaRPr lang="en-GB" sz="1400" dirty="0"/>
          </a:p>
        </p:txBody>
      </p:sp>
      <p:sp>
        <p:nvSpPr>
          <p:cNvPr id="52230" name="TextBox 9">
            <a:extLst>
              <a:ext uri="{FF2B5EF4-FFF2-40B4-BE49-F238E27FC236}">
                <a16:creationId xmlns:a16="http://schemas.microsoft.com/office/drawing/2014/main" id="{BCF29EF6-4CBF-41EF-AD2D-B979EA6FDBB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64806" y="1378754"/>
            <a:ext cx="2402044" cy="73866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r>
              <a:rPr lang="cs-CZ" altLang="en-US" sz="1400" dirty="0"/>
              <a:t>Souhrn odezvy v růstů po přidání </a:t>
            </a:r>
            <a:r>
              <a:rPr lang="en-GB" altLang="en-US" sz="1400" dirty="0" err="1"/>
              <a:t>C4:0</a:t>
            </a:r>
            <a:r>
              <a:rPr lang="en-GB" altLang="en-US" sz="1400" dirty="0"/>
              <a:t> </a:t>
            </a:r>
            <a:r>
              <a:rPr lang="cs-CZ" altLang="en-US" sz="1400" dirty="0"/>
              <a:t>do mléčné náhražky</a:t>
            </a:r>
            <a:r>
              <a:rPr lang="en-GB" altLang="en-US" sz="1400" dirty="0"/>
              <a:t>:</a:t>
            </a:r>
          </a:p>
        </p:txBody>
      </p:sp>
    </p:spTree>
  </p:cSld>
  <p:clrMapOvr>
    <a:masterClrMapping/>
  </p:clrMapOvr>
  <p:transition/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Title 1">
            <a:extLst>
              <a:ext uri="{FF2B5EF4-FFF2-40B4-BE49-F238E27FC236}">
                <a16:creationId xmlns:a16="http://schemas.microsoft.com/office/drawing/2014/main" id="{B8AA8DCC-342A-466C-ADEF-FA3C24FE33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0"/>
            <a:ext cx="8748712" cy="836613"/>
          </a:xfrm>
        </p:spPr>
        <p:txBody>
          <a:bodyPr/>
          <a:lstStyle/>
          <a:p>
            <a:r>
              <a:rPr lang="cs-CZ" altLang="en-US" dirty="0"/>
              <a:t>Mastné kyseliny se středním řetězcem </a:t>
            </a:r>
            <a:r>
              <a:rPr lang="en-GB" altLang="en-US" dirty="0"/>
              <a:t>(MCFA)</a:t>
            </a:r>
            <a:endParaRPr lang="nl-NL" altLang="en-US" dirty="0"/>
          </a:p>
        </p:txBody>
      </p:sp>
      <p:sp>
        <p:nvSpPr>
          <p:cNvPr id="53251" name="TextBox 6">
            <a:extLst>
              <a:ext uri="{FF2B5EF4-FFF2-40B4-BE49-F238E27FC236}">
                <a16:creationId xmlns:a16="http://schemas.microsoft.com/office/drawing/2014/main" id="{908417A2-FC74-43B3-8821-5AA476DD17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6524625"/>
            <a:ext cx="3786188" cy="2476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r>
              <a:rPr lang="en-GB" altLang="en-US" sz="1000"/>
              <a:t>Mills et al. (2010) J. Dairy Sci. 93: 4262-4273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F5ED751-3BE4-4627-ABFB-0EA2B0099FD8}"/>
              </a:ext>
            </a:extLst>
          </p:cNvPr>
          <p:cNvSpPr txBox="1"/>
          <p:nvPr/>
        </p:nvSpPr>
        <p:spPr>
          <a:xfrm>
            <a:off x="179388" y="1268413"/>
            <a:ext cx="2951162" cy="116955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>
            <a:spAutoFit/>
          </a:bodyPr>
          <a:lstStyle/>
          <a:p>
            <a:pPr>
              <a:defRPr/>
            </a:pPr>
            <a:r>
              <a:rPr lang="en-GB" sz="1400" dirty="0"/>
              <a:t>MCFA (C8:0, C10:0, C12:0, C14:0)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cs-CZ" sz="1400" dirty="0"/>
              <a:t>Přímý zdroj energie </a:t>
            </a:r>
            <a:r>
              <a:rPr lang="en-GB" sz="1400" dirty="0"/>
              <a:t>(</a:t>
            </a:r>
            <a:r>
              <a:rPr lang="cs-CZ" sz="1400" dirty="0"/>
              <a:t>jsou efektivně oxidovány</a:t>
            </a:r>
            <a:r>
              <a:rPr lang="en-GB" sz="1400" dirty="0"/>
              <a:t>, </a:t>
            </a:r>
            <a:r>
              <a:rPr lang="cs-CZ" sz="1400" dirty="0"/>
              <a:t>ušetří se glukóza</a:t>
            </a:r>
            <a:r>
              <a:rPr lang="en-GB" sz="1400" dirty="0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cs-CZ" sz="1400" dirty="0"/>
              <a:t>Antibakteriální a antivirové</a:t>
            </a:r>
            <a:endParaRPr lang="en-GB" sz="1400" dirty="0"/>
          </a:p>
        </p:txBody>
      </p:sp>
      <p:sp>
        <p:nvSpPr>
          <p:cNvPr id="53253" name="TextBox 9">
            <a:extLst>
              <a:ext uri="{FF2B5EF4-FFF2-40B4-BE49-F238E27FC236}">
                <a16:creationId xmlns:a16="http://schemas.microsoft.com/office/drawing/2014/main" id="{3065ED85-E059-44FB-83B3-141373CCC7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9388" y="2424113"/>
            <a:ext cx="2951162" cy="73866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r>
              <a:rPr lang="cs-CZ" altLang="en-US" sz="1400" dirty="0"/>
              <a:t>V mléčných náhražkách jsou obsaženy v kokosovém nebo palmojádrovém oleji</a:t>
            </a:r>
            <a:endParaRPr lang="en-GB" altLang="en-US" sz="1400" dirty="0"/>
          </a:p>
        </p:txBody>
      </p:sp>
      <p:pic>
        <p:nvPicPr>
          <p:cNvPr id="53254" name="Picture 2">
            <a:extLst>
              <a:ext uri="{FF2B5EF4-FFF2-40B4-BE49-F238E27FC236}">
                <a16:creationId xmlns:a16="http://schemas.microsoft.com/office/drawing/2014/main" id="{6F76B90C-8F5F-4991-AFD6-31E0CF26DEB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0200" y="1196975"/>
            <a:ext cx="4579938" cy="275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3255" name="Straight Arrow Connector 4">
            <a:extLst>
              <a:ext uri="{FF2B5EF4-FFF2-40B4-BE49-F238E27FC236}">
                <a16:creationId xmlns:a16="http://schemas.microsoft.com/office/drawing/2014/main" id="{7BF84A8B-3153-4D0C-8DF2-8539050FFE48}"/>
              </a:ext>
            </a:extLst>
          </p:cNvPr>
          <p:cNvCxnSpPr>
            <a:cxnSpLocks noChangeShapeType="1"/>
            <a:stCxn id="53253" idx="3"/>
          </p:cNvCxnSpPr>
          <p:nvPr/>
        </p:nvCxnSpPr>
        <p:spPr bwMode="auto">
          <a:xfrm flipV="1">
            <a:off x="3130550" y="2685723"/>
            <a:ext cx="720725" cy="107722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6BEEE337-2164-4EC4-9508-EA12A432B4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9229170"/>
              </p:ext>
            </p:extLst>
          </p:nvPr>
        </p:nvGraphicFramePr>
        <p:xfrm>
          <a:off x="4140200" y="4294188"/>
          <a:ext cx="4583114" cy="11510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2499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757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727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0962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946">
                <a:tc>
                  <a:txBody>
                    <a:bodyPr/>
                    <a:lstStyle/>
                    <a:p>
                      <a:endParaRPr lang="en-GB" sz="1400" b="0" dirty="0"/>
                    </a:p>
                  </a:txBody>
                  <a:tcPr marL="91426" marR="91426"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0" dirty="0"/>
                        <a:t>Sádlo</a:t>
                      </a:r>
                      <a:endParaRPr lang="en-GB" sz="1400" b="0" dirty="0"/>
                    </a:p>
                  </a:txBody>
                  <a:tcPr marL="91426" marR="91426"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0" dirty="0"/>
                        <a:t>Kokos</a:t>
                      </a:r>
                      <a:endParaRPr lang="en-GB" sz="1400" b="0" dirty="0"/>
                    </a:p>
                  </a:txBody>
                  <a:tcPr marL="91426" marR="91426"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dirty="0"/>
                        <a:t>P</a:t>
                      </a:r>
                    </a:p>
                  </a:txBody>
                  <a:tcPr marL="91426" marR="91426" marT="45733" marB="45733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9142">
                <a:tc>
                  <a:txBody>
                    <a:bodyPr/>
                    <a:lstStyle/>
                    <a:p>
                      <a:r>
                        <a:rPr lang="cs-CZ" sz="1400" dirty="0"/>
                        <a:t>Přírůstek hmotnosti </a:t>
                      </a:r>
                      <a:r>
                        <a:rPr lang="en-GB" sz="1400" baseline="0" dirty="0"/>
                        <a:t>(kg/d)</a:t>
                      </a:r>
                      <a:endParaRPr lang="en-GB" sz="1400" dirty="0"/>
                    </a:p>
                  </a:txBody>
                  <a:tcPr marL="91426" marR="91426"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0.99</a:t>
                      </a:r>
                    </a:p>
                  </a:txBody>
                  <a:tcPr marL="91426" marR="91426"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0.94</a:t>
                      </a:r>
                    </a:p>
                  </a:txBody>
                  <a:tcPr marL="91426" marR="91426"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ns</a:t>
                      </a:r>
                    </a:p>
                  </a:txBody>
                  <a:tcPr marL="91426" marR="91426" marT="45733" marB="45733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946">
                <a:tc>
                  <a:txBody>
                    <a:bodyPr/>
                    <a:lstStyle/>
                    <a:p>
                      <a:r>
                        <a:rPr lang="cs-CZ" sz="1400" dirty="0"/>
                        <a:t>Efektivita krmiva</a:t>
                      </a:r>
                      <a:endParaRPr lang="en-GB" sz="1400" dirty="0"/>
                    </a:p>
                  </a:txBody>
                  <a:tcPr marL="91426" marR="91426"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0.78</a:t>
                      </a:r>
                    </a:p>
                  </a:txBody>
                  <a:tcPr marL="91426" marR="91426"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0.76</a:t>
                      </a:r>
                    </a:p>
                  </a:txBody>
                  <a:tcPr marL="91426" marR="91426"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ns</a:t>
                      </a:r>
                    </a:p>
                  </a:txBody>
                  <a:tcPr marL="91426" marR="91426" marT="45733" marB="45733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3278" name="TextBox 12">
            <a:extLst>
              <a:ext uri="{FF2B5EF4-FFF2-40B4-BE49-F238E27FC236}">
                <a16:creationId xmlns:a16="http://schemas.microsoft.com/office/drawing/2014/main" id="{309F4E55-FA1B-4C6A-B92D-752DB06EA3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8275" y="4442290"/>
            <a:ext cx="2951163" cy="73866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r>
              <a:rPr lang="cs-CZ" altLang="en-US" sz="1400" dirty="0"/>
              <a:t>Žádná odezva na částečnou náhradu sádla kokosovým olejem</a:t>
            </a:r>
            <a:r>
              <a:rPr lang="en-GB" altLang="en-US" sz="1400" baseline="30000" dirty="0"/>
              <a:t>1</a:t>
            </a:r>
          </a:p>
        </p:txBody>
      </p:sp>
      <p:cxnSp>
        <p:nvCxnSpPr>
          <p:cNvPr id="53279" name="Straight Arrow Connector 14">
            <a:extLst>
              <a:ext uri="{FF2B5EF4-FFF2-40B4-BE49-F238E27FC236}">
                <a16:creationId xmlns:a16="http://schemas.microsoft.com/office/drawing/2014/main" id="{9855BC29-AF7D-4B5E-ACAE-FB922957771C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3124200" y="4794250"/>
            <a:ext cx="727075" cy="3175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</p:cSld>
  <p:clrMapOvr>
    <a:masterClrMapping/>
  </p:clrMapOvr>
  <p:transition/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303" name="Picture 3">
            <a:extLst>
              <a:ext uri="{FF2B5EF4-FFF2-40B4-BE49-F238E27FC236}">
                <a16:creationId xmlns:a16="http://schemas.microsoft.com/office/drawing/2014/main" id="{2CEDBD41-B24C-4D23-8DB2-D8F4ACF7FA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017" y="3657580"/>
            <a:ext cx="5123018" cy="30780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5298" name="Title 1">
            <a:extLst>
              <a:ext uri="{FF2B5EF4-FFF2-40B4-BE49-F238E27FC236}">
                <a16:creationId xmlns:a16="http://schemas.microsoft.com/office/drawing/2014/main" id="{461E502E-A124-496B-9709-CDFAE9BA57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en-US" dirty="0"/>
              <a:t>Optimální vyvážení mastných kyselin</a:t>
            </a:r>
            <a:endParaRPr lang="nl-NL" altLang="en-US" dirty="0"/>
          </a:p>
        </p:txBody>
      </p:sp>
      <p:sp>
        <p:nvSpPr>
          <p:cNvPr id="55299" name="TextBox 6">
            <a:extLst>
              <a:ext uri="{FF2B5EF4-FFF2-40B4-BE49-F238E27FC236}">
                <a16:creationId xmlns:a16="http://schemas.microsoft.com/office/drawing/2014/main" id="{87C00A0D-4CF1-4B0E-972A-66891D16FA3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10088" y="6335541"/>
            <a:ext cx="2006577" cy="40011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r>
              <a:rPr lang="en-GB" altLang="en-US" sz="1000" dirty="0" err="1"/>
              <a:t>Esselburn</a:t>
            </a:r>
            <a:r>
              <a:rPr lang="en-GB" altLang="en-US" sz="1000" dirty="0"/>
              <a:t> et al. (2013) </a:t>
            </a:r>
          </a:p>
          <a:p>
            <a:r>
              <a:rPr lang="en-GB" altLang="en-US" sz="1000" dirty="0"/>
              <a:t>J. Dairy Sci. 96: 5826-583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51E3D49-1EB6-41BA-B207-2592A0E0D5C4}"/>
              </a:ext>
            </a:extLst>
          </p:cNvPr>
          <p:cNvSpPr txBox="1"/>
          <p:nvPr/>
        </p:nvSpPr>
        <p:spPr>
          <a:xfrm>
            <a:off x="462838" y="1265816"/>
            <a:ext cx="2951162" cy="95410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>
            <a:spAutoFit/>
          </a:bodyPr>
          <a:lstStyle/>
          <a:p>
            <a:pPr>
              <a:defRPr/>
            </a:pPr>
            <a:r>
              <a:rPr lang="cs-CZ" sz="1400" dirty="0"/>
              <a:t>Tři mléčné náhražky se </a:t>
            </a:r>
            <a:r>
              <a:rPr lang="en-GB" sz="1400" dirty="0"/>
              <a:t> 17% </a:t>
            </a:r>
            <a:r>
              <a:rPr lang="cs-CZ" sz="1400" dirty="0"/>
              <a:t>tuku</a:t>
            </a:r>
            <a:r>
              <a:rPr lang="en-GB" sz="1400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cs-CZ" sz="1400" dirty="0"/>
              <a:t>Kontrola </a:t>
            </a:r>
            <a:r>
              <a:rPr lang="en-GB" sz="1400" dirty="0"/>
              <a:t>= </a:t>
            </a:r>
            <a:r>
              <a:rPr lang="cs-CZ" sz="1400" dirty="0"/>
              <a:t>živočišný tuk</a:t>
            </a:r>
            <a:endParaRPr lang="en-GB" sz="1400" dirty="0"/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400" dirty="0"/>
              <a:t>FA-S = </a:t>
            </a:r>
            <a:r>
              <a:rPr lang="cs-CZ" sz="1400" dirty="0"/>
              <a:t>optimalizovaný na MK</a:t>
            </a:r>
            <a:endParaRPr lang="en-GB" sz="1400" dirty="0"/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400" dirty="0"/>
              <a:t>MF = </a:t>
            </a:r>
            <a:r>
              <a:rPr lang="cs-CZ" sz="1400" dirty="0"/>
              <a:t>mléčný tuk</a:t>
            </a:r>
            <a:endParaRPr lang="en-GB" sz="1400" dirty="0"/>
          </a:p>
        </p:txBody>
      </p:sp>
      <p:sp>
        <p:nvSpPr>
          <p:cNvPr id="55301" name="TextBox 9">
            <a:extLst>
              <a:ext uri="{FF2B5EF4-FFF2-40B4-BE49-F238E27FC236}">
                <a16:creationId xmlns:a16="http://schemas.microsoft.com/office/drawing/2014/main" id="{D374834B-DA3C-4114-9E50-58ED38935D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2838" y="3167390"/>
            <a:ext cx="2531500" cy="73866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r>
              <a:rPr lang="cs-CZ" altLang="en-US" sz="1400" dirty="0"/>
              <a:t>Optimalizovaná směs tuků byla lepší než živočišný tuk</a:t>
            </a:r>
            <a:endParaRPr lang="en-GB" altLang="en-US" sz="1400" dirty="0"/>
          </a:p>
        </p:txBody>
      </p:sp>
      <p:pic>
        <p:nvPicPr>
          <p:cNvPr id="55302" name="Picture 2">
            <a:extLst>
              <a:ext uri="{FF2B5EF4-FFF2-40B4-BE49-F238E27FC236}">
                <a16:creationId xmlns:a16="http://schemas.microsoft.com/office/drawing/2014/main" id="{6E6650C4-CFE0-4670-B644-C38B246E45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2870" y="920346"/>
            <a:ext cx="4583113" cy="2794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/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Title 2">
            <a:extLst>
              <a:ext uri="{FF2B5EF4-FFF2-40B4-BE49-F238E27FC236}">
                <a16:creationId xmlns:a16="http://schemas.microsoft.com/office/drawing/2014/main" id="{8D00F3A9-7E1F-4340-AA24-255C55AE66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en-US" dirty="0" err="1"/>
              <a:t>Lipidomika</a:t>
            </a:r>
            <a:r>
              <a:rPr lang="cs-CZ" altLang="en-US" dirty="0"/>
              <a:t> mléka</a:t>
            </a:r>
            <a:endParaRPr lang="en-GB" alt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CF70A49-AE52-450E-ABEE-6ECE4B8A483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8325" y="874713"/>
            <a:ext cx="1974850" cy="59150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348" name="TextBox 5">
            <a:extLst>
              <a:ext uri="{FF2B5EF4-FFF2-40B4-BE49-F238E27FC236}">
                <a16:creationId xmlns:a16="http://schemas.microsoft.com/office/drawing/2014/main" id="{7186B722-C5B1-4C67-81A9-8213CC6494A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4838" y="3582988"/>
            <a:ext cx="632481" cy="40011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r>
              <a:rPr lang="cs-CZ" altLang="en-US" sz="2000" dirty="0"/>
              <a:t>Tuk</a:t>
            </a:r>
            <a:endParaRPr lang="en-GB" altLang="en-US" sz="20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5885336-62D7-4EDB-BF9D-CCCD21FD2DF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938" y="2349500"/>
            <a:ext cx="2663825" cy="29337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1F09ED5-468E-4F79-9AB2-A619BBEA83E8}"/>
              </a:ext>
            </a:extLst>
          </p:cNvPr>
          <p:cNvCxnSpPr/>
          <p:nvPr/>
        </p:nvCxnSpPr>
        <p:spPr>
          <a:xfrm flipV="1">
            <a:off x="604838" y="874713"/>
            <a:ext cx="6313487" cy="2708275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373EB35-213C-40DB-8AA2-0B87AE1DCC2D}"/>
              </a:ext>
            </a:extLst>
          </p:cNvPr>
          <p:cNvCxnSpPr/>
          <p:nvPr/>
        </p:nvCxnSpPr>
        <p:spPr>
          <a:xfrm>
            <a:off x="604838" y="3983038"/>
            <a:ext cx="6313487" cy="280670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AA5CABE9-92CA-4389-8E7B-3350E006FB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1600" y="4806950"/>
            <a:ext cx="1927131" cy="203132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r>
              <a:rPr lang="en-GB" altLang="en-US" sz="900" dirty="0"/>
              <a:t>CE = </a:t>
            </a:r>
            <a:r>
              <a:rPr lang="cs-CZ" altLang="en-US" sz="900" dirty="0"/>
              <a:t>ester cholesterolu</a:t>
            </a:r>
            <a:endParaRPr lang="en-GB" altLang="en-US" sz="900" dirty="0"/>
          </a:p>
          <a:p>
            <a:r>
              <a:rPr lang="en-GB" altLang="en-US" sz="900" dirty="0"/>
              <a:t>TAG = triacylglycerol</a:t>
            </a:r>
          </a:p>
          <a:p>
            <a:r>
              <a:rPr lang="en-GB" altLang="en-US" sz="900" dirty="0"/>
              <a:t>DAG = diacylglycerol</a:t>
            </a:r>
          </a:p>
          <a:p>
            <a:r>
              <a:rPr lang="en-GB" altLang="en-US" sz="900" dirty="0"/>
              <a:t>CHOL = cholesterol</a:t>
            </a:r>
          </a:p>
          <a:p>
            <a:r>
              <a:rPr lang="en-GB" altLang="en-US" sz="900" dirty="0"/>
              <a:t>MAG = monoacylglycerol</a:t>
            </a:r>
          </a:p>
          <a:p>
            <a:r>
              <a:rPr lang="en-GB" altLang="en-US" sz="900" dirty="0" err="1"/>
              <a:t>GLUCER</a:t>
            </a:r>
            <a:r>
              <a:rPr lang="en-GB" altLang="en-US" sz="900" dirty="0"/>
              <a:t> = </a:t>
            </a:r>
            <a:r>
              <a:rPr lang="en-GB" altLang="en-US" sz="900" dirty="0" err="1"/>
              <a:t>glucosylceramid</a:t>
            </a:r>
            <a:r>
              <a:rPr lang="cs-CZ" altLang="en-US" sz="900" dirty="0"/>
              <a:t>y</a:t>
            </a:r>
            <a:endParaRPr lang="en-GB" altLang="en-US" sz="900" dirty="0"/>
          </a:p>
          <a:p>
            <a:r>
              <a:rPr lang="en-GB" altLang="en-US" sz="900" dirty="0"/>
              <a:t>LACER = </a:t>
            </a:r>
            <a:r>
              <a:rPr lang="en-GB" altLang="en-US" sz="900" dirty="0" err="1"/>
              <a:t>lactosylceramid</a:t>
            </a:r>
            <a:r>
              <a:rPr lang="cs-CZ" altLang="en-US" sz="900" dirty="0"/>
              <a:t>y</a:t>
            </a:r>
            <a:endParaRPr lang="en-GB" altLang="en-US" sz="900" dirty="0"/>
          </a:p>
          <a:p>
            <a:r>
              <a:rPr lang="en-GB" altLang="en-US" sz="900" dirty="0"/>
              <a:t>PL = </a:t>
            </a:r>
            <a:r>
              <a:rPr lang="cs-CZ" altLang="en-US" sz="900" dirty="0"/>
              <a:t>polární lipidy</a:t>
            </a:r>
            <a:endParaRPr lang="en-GB" altLang="en-US" sz="900" dirty="0"/>
          </a:p>
          <a:p>
            <a:r>
              <a:rPr lang="en-GB" altLang="en-US" sz="900" dirty="0"/>
              <a:t>PA = </a:t>
            </a:r>
            <a:r>
              <a:rPr lang="cs-CZ" altLang="en-US" sz="900" dirty="0"/>
              <a:t>kyselina fosfatidová</a:t>
            </a:r>
            <a:endParaRPr lang="en-GB" altLang="en-US" sz="900" dirty="0"/>
          </a:p>
          <a:p>
            <a:r>
              <a:rPr lang="en-GB" altLang="en-US" sz="900" dirty="0"/>
              <a:t>PE = </a:t>
            </a:r>
            <a:r>
              <a:rPr lang="cs-CZ" altLang="en-US" sz="900" dirty="0"/>
              <a:t>f</a:t>
            </a:r>
            <a:r>
              <a:rPr lang="en-GB" altLang="en-US" sz="900" dirty="0" err="1"/>
              <a:t>osphatidylethanolamin</a:t>
            </a:r>
            <a:endParaRPr lang="en-GB" altLang="en-US" sz="900" dirty="0"/>
          </a:p>
          <a:p>
            <a:r>
              <a:rPr lang="en-GB" altLang="en-US" sz="900" dirty="0"/>
              <a:t>PI = </a:t>
            </a:r>
            <a:r>
              <a:rPr lang="cs-CZ" altLang="en-US" sz="900" dirty="0"/>
              <a:t>f</a:t>
            </a:r>
            <a:r>
              <a:rPr lang="en-GB" altLang="en-US" sz="900" dirty="0" err="1"/>
              <a:t>osphatidylinositol</a:t>
            </a:r>
            <a:endParaRPr lang="en-GB" altLang="en-US" sz="900" dirty="0"/>
          </a:p>
          <a:p>
            <a:r>
              <a:rPr lang="en-GB" altLang="en-US" sz="900" dirty="0"/>
              <a:t>PS = </a:t>
            </a:r>
            <a:r>
              <a:rPr lang="cs-CZ" altLang="en-US" sz="900" dirty="0"/>
              <a:t>f</a:t>
            </a:r>
            <a:r>
              <a:rPr lang="en-GB" altLang="en-US" sz="900" dirty="0" err="1"/>
              <a:t>osphatidylserine</a:t>
            </a:r>
            <a:endParaRPr lang="en-GB" altLang="en-US" sz="900" dirty="0"/>
          </a:p>
          <a:p>
            <a:r>
              <a:rPr lang="en-GB" altLang="en-US" sz="900" dirty="0"/>
              <a:t>PC = </a:t>
            </a:r>
            <a:r>
              <a:rPr lang="cs-CZ" altLang="en-US" sz="900" dirty="0"/>
              <a:t>f</a:t>
            </a:r>
            <a:r>
              <a:rPr lang="en-GB" altLang="en-US" sz="900" dirty="0" err="1"/>
              <a:t>sphatidylcholine</a:t>
            </a:r>
            <a:endParaRPr lang="en-GB" altLang="en-US" sz="900" dirty="0"/>
          </a:p>
          <a:p>
            <a:r>
              <a:rPr lang="en-GB" altLang="en-US" sz="900" dirty="0"/>
              <a:t>SM = sphingomyeli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4E7F193-1817-4728-A00D-7B3605EFB8EF}"/>
              </a:ext>
            </a:extLst>
          </p:cNvPr>
          <p:cNvSpPr txBox="1"/>
          <p:nvPr/>
        </p:nvSpPr>
        <p:spPr>
          <a:xfrm>
            <a:off x="1509713" y="3182938"/>
            <a:ext cx="1549400" cy="138499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>
            <a:spAutoFit/>
          </a:bodyPr>
          <a:lstStyle/>
          <a:p>
            <a:pPr>
              <a:defRPr/>
            </a:pPr>
            <a:r>
              <a:rPr lang="cs-CZ" sz="1200" dirty="0"/>
              <a:t>Globule mléčného tuku</a:t>
            </a:r>
            <a:r>
              <a:rPr lang="en-GB" sz="1200" dirty="0"/>
              <a:t>:</a:t>
            </a:r>
          </a:p>
          <a:p>
            <a:pPr>
              <a:defRPr/>
            </a:pPr>
            <a:endParaRPr lang="en-GB" sz="1200" dirty="0"/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cs-CZ" sz="1200" dirty="0"/>
              <a:t>velké</a:t>
            </a:r>
            <a:endParaRPr lang="en-GB" sz="1200" dirty="0"/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cs-CZ" sz="1200" dirty="0"/>
              <a:t>malé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cs-CZ" sz="1200" dirty="0" err="1"/>
              <a:t>laktosomy</a:t>
            </a:r>
            <a:endParaRPr lang="en-GB" sz="1200" dirty="0"/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cs-CZ" sz="1200" dirty="0" err="1"/>
              <a:t>exosomy</a:t>
            </a:r>
            <a:endParaRPr lang="en-GB" sz="120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4B23D45-E645-49C6-BAB1-E02350A7D21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000" y="1017588"/>
            <a:ext cx="3289300" cy="12112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3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Title 1">
            <a:extLst>
              <a:ext uri="{FF2B5EF4-FFF2-40B4-BE49-F238E27FC236}">
                <a16:creationId xmlns:a16="http://schemas.microsoft.com/office/drawing/2014/main" id="{3EE71759-F0F8-488D-A7DB-06BA82DEDB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en-US" dirty="0"/>
              <a:t>Příklad: antibakteriální </a:t>
            </a:r>
            <a:r>
              <a:rPr lang="cs-CZ" altLang="en-US" dirty="0" err="1"/>
              <a:t>sfingolipidy</a:t>
            </a:r>
            <a:endParaRPr lang="nl-NL" altLang="en-US" dirty="0"/>
          </a:p>
        </p:txBody>
      </p:sp>
      <p:sp>
        <p:nvSpPr>
          <p:cNvPr id="59395" name="Content Placeholder 2">
            <a:extLst>
              <a:ext uri="{FF2B5EF4-FFF2-40B4-BE49-F238E27FC236}">
                <a16:creationId xmlns:a16="http://schemas.microsoft.com/office/drawing/2014/main" id="{E5F0A97B-A714-4B5F-92A5-1AA05D6225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altLang="en-US" dirty="0" err="1"/>
              <a:t>Lysosfingomyelin</a:t>
            </a:r>
            <a:r>
              <a:rPr lang="en-GB" altLang="en-US" sz="1800" dirty="0"/>
              <a:t> </a:t>
            </a:r>
          </a:p>
          <a:p>
            <a:pPr lvl="1"/>
            <a:r>
              <a:rPr lang="cs-CZ" altLang="en-US" sz="1600" dirty="0"/>
              <a:t>Vysoce baktericidní účinek vůči </a:t>
            </a:r>
            <a:r>
              <a:rPr lang="en-GB" altLang="en-US" sz="1600" i="1" dirty="0"/>
              <a:t>Campylobacter </a:t>
            </a:r>
            <a:r>
              <a:rPr lang="en-GB" altLang="en-US" sz="1600" i="1" dirty="0" err="1"/>
              <a:t>jejuni</a:t>
            </a:r>
            <a:r>
              <a:rPr lang="en-GB" altLang="en-US" sz="1600" i="1" dirty="0"/>
              <a:t>, Listeria </a:t>
            </a:r>
            <a:r>
              <a:rPr lang="en-GB" altLang="en-US" sz="1600" i="1" dirty="0" err="1"/>
              <a:t>monocitogenes</a:t>
            </a:r>
            <a:r>
              <a:rPr lang="en-GB" altLang="en-US" sz="1600" i="1" dirty="0"/>
              <a:t> </a:t>
            </a:r>
            <a:r>
              <a:rPr lang="en-GB" altLang="en-US" sz="1600" dirty="0"/>
              <a:t>a</a:t>
            </a:r>
            <a:r>
              <a:rPr lang="en-GB" altLang="en-US" sz="1600" i="1" dirty="0"/>
              <a:t> Clostridium perfringens</a:t>
            </a:r>
          </a:p>
          <a:p>
            <a:pPr lvl="1"/>
            <a:r>
              <a:rPr lang="cs-CZ" altLang="en-US" sz="1600" dirty="0"/>
              <a:t>Mírně baktericidní vůči </a:t>
            </a:r>
            <a:r>
              <a:rPr lang="en-GB" altLang="en-US" sz="1600" i="1" dirty="0"/>
              <a:t>E. coli </a:t>
            </a:r>
            <a:r>
              <a:rPr lang="en-GB" altLang="en-US" sz="1600" dirty="0"/>
              <a:t>a </a:t>
            </a:r>
            <a:r>
              <a:rPr lang="en-GB" altLang="en-US" sz="1600" i="1" dirty="0"/>
              <a:t>Salmonella enteritidis</a:t>
            </a:r>
          </a:p>
          <a:p>
            <a:pPr marL="457200" lvl="1" indent="0">
              <a:buNone/>
            </a:pPr>
            <a:endParaRPr lang="en-GB" altLang="en-US" dirty="0"/>
          </a:p>
          <a:p>
            <a:pPr marL="57150" indent="0"/>
            <a:r>
              <a:rPr lang="cs-CZ" altLang="en-US" sz="1800" dirty="0"/>
              <a:t>Mléko obohacené membránami globulí mléčného tuku</a:t>
            </a:r>
            <a:r>
              <a:rPr lang="en-GB" altLang="en-US" sz="1800" dirty="0"/>
              <a:t> (</a:t>
            </a:r>
            <a:r>
              <a:rPr lang="cs-CZ" altLang="en-US" sz="1800" dirty="0"/>
              <a:t>zdroj fosfolipidů</a:t>
            </a:r>
            <a:r>
              <a:rPr lang="en-GB" altLang="en-US" sz="1800" dirty="0"/>
              <a:t>) </a:t>
            </a:r>
            <a:r>
              <a:rPr lang="cs-CZ" altLang="en-US" sz="1800" dirty="0"/>
              <a:t>chrání před infekcemi trávicího traktu u dětí.</a:t>
            </a:r>
            <a:endParaRPr lang="en-GB" altLang="en-US" sz="1800" dirty="0"/>
          </a:p>
          <a:p>
            <a:endParaRPr lang="en-GB" altLang="en-US" sz="1800" dirty="0"/>
          </a:p>
        </p:txBody>
      </p:sp>
      <p:sp>
        <p:nvSpPr>
          <p:cNvPr id="59396" name="Rectangle 4">
            <a:extLst>
              <a:ext uri="{FF2B5EF4-FFF2-40B4-BE49-F238E27FC236}">
                <a16:creationId xmlns:a16="http://schemas.microsoft.com/office/drawing/2014/main" id="{CF5D791C-D225-474E-BE47-390C0DECB9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1763" y="6092825"/>
            <a:ext cx="2927350" cy="64611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r>
              <a:rPr lang="en-GB" altLang="en-US" sz="1200">
                <a:solidFill>
                  <a:srgbClr val="000000"/>
                </a:solidFill>
              </a:rPr>
              <a:t>Sprong et al. (2001, 2002)</a:t>
            </a:r>
          </a:p>
          <a:p>
            <a:r>
              <a:rPr lang="en-GB" altLang="en-US" sz="1200">
                <a:solidFill>
                  <a:srgbClr val="000000"/>
                </a:solidFill>
              </a:rPr>
              <a:t>Veereman-Wauters et al. (2012)</a:t>
            </a:r>
          </a:p>
          <a:p>
            <a:r>
              <a:rPr lang="en-GB" altLang="en-US" sz="1200">
                <a:solidFill>
                  <a:srgbClr val="000000"/>
                </a:solidFill>
              </a:rPr>
              <a:t>Contarini and Povolo (2013)</a:t>
            </a:r>
          </a:p>
        </p:txBody>
      </p:sp>
    </p:spTree>
  </p:cSld>
  <p:clrMapOvr>
    <a:masterClrMapping/>
  </p:clrMapOvr>
  <p:transition/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703096" y="6356350"/>
            <a:ext cx="261392" cy="365125"/>
          </a:xfrm>
          <a:prstGeom prst="rect">
            <a:avLst/>
          </a:prstGeom>
        </p:spPr>
        <p:txBody>
          <a:bodyPr/>
          <a:lstStyle/>
          <a:p>
            <a:fld id="{80D6757C-AADA-42E6-900C-AE6D99EF5A31}" type="slidenum">
              <a:rPr lang="en-GB" smtClean="0">
                <a:solidFill>
                  <a:srgbClr val="655C59">
                    <a:tint val="75000"/>
                  </a:srgbClr>
                </a:solidFill>
              </a:rPr>
              <a:pPr/>
              <a:t>39</a:t>
            </a:fld>
            <a:endParaRPr lang="en-GB" dirty="0">
              <a:solidFill>
                <a:srgbClr val="655C59">
                  <a:tint val="75000"/>
                </a:srgbClr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Hlubší pohled</a:t>
            </a:r>
            <a:r>
              <a:rPr lang="en-GB" dirty="0"/>
              <a:t>…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1700808"/>
            <a:ext cx="2481175" cy="3312368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8759" y="1686064"/>
            <a:ext cx="2481175" cy="3312368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0808" y="1700809"/>
            <a:ext cx="2481175" cy="3312368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8" name="TextBox 7"/>
          <p:cNvSpPr txBox="1"/>
          <p:nvPr/>
        </p:nvSpPr>
        <p:spPr>
          <a:xfrm>
            <a:off x="1220527" y="1231268"/>
            <a:ext cx="1073692" cy="3693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rgbClr val="C00000"/>
                </a:solidFill>
              </a:rPr>
              <a:t>Bílkoviny</a:t>
            </a:r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244863" y="1231268"/>
            <a:ext cx="777777" cy="369332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rgbClr val="0070C0"/>
                </a:solidFill>
              </a:rPr>
              <a:t>Lipidy</a:t>
            </a:r>
            <a:endParaRPr lang="en-GB" dirty="0">
              <a:solidFill>
                <a:srgbClr val="0070C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621127" y="1231268"/>
            <a:ext cx="1170513" cy="369332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chemeClr val="accent4"/>
                </a:solidFill>
              </a:rPr>
              <a:t>Sacharidy</a:t>
            </a:r>
            <a:endParaRPr lang="en-GB" dirty="0">
              <a:solidFill>
                <a:schemeClr val="accent4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72951" y="2276872"/>
            <a:ext cx="1616148" cy="369332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rgbClr val="C00000"/>
                </a:solidFill>
              </a:rPr>
              <a:t>Dusíkaté látky</a:t>
            </a:r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148519" y="3068960"/>
            <a:ext cx="1011815" cy="369332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rgbClr val="C00000"/>
                </a:solidFill>
              </a:rPr>
              <a:t>Proteiny</a:t>
            </a:r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966501" y="3861048"/>
            <a:ext cx="1625317" cy="369332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 err="1">
                <a:solidFill>
                  <a:srgbClr val="C00000"/>
                </a:solidFill>
              </a:rPr>
              <a:t>Aminokysleiny</a:t>
            </a:r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956831" y="2270832"/>
            <a:ext cx="1188146" cy="369332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rgbClr val="0070C0"/>
                </a:solidFill>
              </a:rPr>
              <a:t>Hrubý tuk</a:t>
            </a:r>
            <a:endParaRPr lang="en-GB" dirty="0">
              <a:solidFill>
                <a:srgbClr val="0070C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199990" y="3068960"/>
            <a:ext cx="715517" cy="369332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rgbClr val="0070C0"/>
                </a:solidFill>
              </a:rPr>
              <a:t>lipidy</a:t>
            </a:r>
            <a:endParaRPr lang="en-GB" dirty="0">
              <a:solidFill>
                <a:srgbClr val="0070C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983966" y="3861048"/>
            <a:ext cx="1788823" cy="369332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rgbClr val="0070C0"/>
                </a:solidFill>
              </a:rPr>
              <a:t>Mastné </a:t>
            </a:r>
            <a:r>
              <a:rPr lang="cs-CZ" dirty="0" err="1">
                <a:solidFill>
                  <a:srgbClr val="0070C0"/>
                </a:solidFill>
              </a:rPr>
              <a:t>kysleiny</a:t>
            </a:r>
            <a:endParaRPr lang="en-GB" dirty="0">
              <a:solidFill>
                <a:srgbClr val="0070C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261087" y="2708920"/>
            <a:ext cx="963725" cy="369332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chemeClr val="accent4"/>
                </a:solidFill>
              </a:rPr>
              <a:t>Laktóza</a:t>
            </a:r>
            <a:endParaRPr lang="en-GB" dirty="0">
              <a:solidFill>
                <a:schemeClr val="accent4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549120" y="3718773"/>
            <a:ext cx="1728192" cy="646331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txBody>
          <a:bodyPr wrap="square" rtlCol="0">
            <a:spAutoFit/>
          </a:bodyPr>
          <a:lstStyle/>
          <a:p>
            <a:r>
              <a:rPr lang="cs-CZ" dirty="0">
                <a:solidFill>
                  <a:schemeClr val="accent4"/>
                </a:solidFill>
              </a:rPr>
              <a:t>Složené sacharidy</a:t>
            </a:r>
            <a:endParaRPr lang="en-GB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134064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itle 1">
            <a:extLst>
              <a:ext uri="{FF2B5EF4-FFF2-40B4-BE49-F238E27FC236}">
                <a16:creationId xmlns:a16="http://schemas.microsoft.com/office/drawing/2014/main" id="{1BDBDBED-2EE1-4A6C-936C-68B0D547EDE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30188" y="228600"/>
            <a:ext cx="8913812" cy="533400"/>
          </a:xfrm>
        </p:spPr>
        <p:txBody>
          <a:bodyPr/>
          <a:lstStyle/>
          <a:p>
            <a:pPr algn="l"/>
            <a:r>
              <a:rPr lang="cs-CZ" altLang="en-US" sz="3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kce mléka na první laktaci x průměrný denní přírůstek od narození do zapuštění</a:t>
            </a:r>
            <a:endParaRPr lang="en-US" altLang="en-US" sz="3000" dirty="0"/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47730A01-3E3C-4A5A-97E4-EF7FABB9299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46459813"/>
              </p:ext>
            </p:extLst>
          </p:nvPr>
        </p:nvGraphicFramePr>
        <p:xfrm>
          <a:off x="230981" y="1143000"/>
          <a:ext cx="8634351" cy="54101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2532" name="TextBox 1">
            <a:extLst>
              <a:ext uri="{FF2B5EF4-FFF2-40B4-BE49-F238E27FC236}">
                <a16:creationId xmlns:a16="http://schemas.microsoft.com/office/drawing/2014/main" id="{F7DCF7DA-CC0C-4D4B-83A5-455ED7C21B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3850" y="6381750"/>
            <a:ext cx="43195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+mn-cs"/>
              </a:rPr>
              <a:t>Mike Van </a:t>
            </a:r>
            <a:r>
              <a:rPr kumimoji="0" lang="en-GB" alt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+mn-cs"/>
              </a:rPr>
              <a:t>Amburgh</a:t>
            </a:r>
            <a:r>
              <a:rPr kumimoji="0" lang="en-GB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MS PGothic" panose="020B0600070205080204" pitchFamily="34" charset="-128"/>
                <a:cs typeface="+mn-cs"/>
              </a:rPr>
              <a:t>, Cornell University</a:t>
            </a:r>
          </a:p>
        </p:txBody>
      </p:sp>
    </p:spTree>
  </p:cSld>
  <p:clrMapOvr>
    <a:masterClrMapping/>
  </p:clrMapOvr>
  <p:transition/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7881" y="0"/>
            <a:ext cx="8229600" cy="836613"/>
          </a:xfrm>
        </p:spPr>
        <p:txBody>
          <a:bodyPr/>
          <a:lstStyle/>
          <a:p>
            <a:r>
              <a:rPr lang="cs-CZ" dirty="0"/>
              <a:t>Mléčné oligosacharidy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8889" y="1099247"/>
            <a:ext cx="8206221" cy="476361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" name="TextBox 4"/>
          <p:cNvSpPr txBox="1"/>
          <p:nvPr/>
        </p:nvSpPr>
        <p:spPr>
          <a:xfrm>
            <a:off x="4350912" y="5696514"/>
            <a:ext cx="3766672" cy="120032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cs-CZ" sz="1200" dirty="0"/>
              <a:t>Monosacharidy</a:t>
            </a:r>
            <a:r>
              <a:rPr lang="en-GB" sz="1200" dirty="0"/>
              <a:t>:</a:t>
            </a:r>
          </a:p>
          <a:p>
            <a:r>
              <a:rPr lang="cs-CZ" sz="1200" dirty="0"/>
              <a:t>Modrá kolečka </a:t>
            </a:r>
            <a:r>
              <a:rPr lang="en-GB" sz="1200" dirty="0"/>
              <a:t>= </a:t>
            </a:r>
            <a:r>
              <a:rPr lang="cs-CZ" sz="1200" dirty="0"/>
              <a:t>glukóza</a:t>
            </a:r>
            <a:endParaRPr lang="en-GB" sz="1200" dirty="0"/>
          </a:p>
          <a:p>
            <a:r>
              <a:rPr lang="cs-CZ" sz="1200" dirty="0"/>
              <a:t>Modré čtverečky</a:t>
            </a:r>
            <a:r>
              <a:rPr lang="en-GB" sz="1200" dirty="0"/>
              <a:t>= N-</a:t>
            </a:r>
            <a:r>
              <a:rPr lang="en-GB" sz="1200" dirty="0" err="1"/>
              <a:t>acetylglu</a:t>
            </a:r>
            <a:r>
              <a:rPr lang="cs-CZ" sz="1200" dirty="0"/>
              <a:t>k</a:t>
            </a:r>
            <a:r>
              <a:rPr lang="en-GB" sz="1200" dirty="0" err="1"/>
              <a:t>osamin</a:t>
            </a:r>
            <a:endParaRPr lang="en-GB" sz="1200" dirty="0"/>
          </a:p>
          <a:p>
            <a:r>
              <a:rPr lang="cs-CZ" sz="1200" dirty="0"/>
              <a:t>Žlutá kolečka </a:t>
            </a:r>
            <a:r>
              <a:rPr lang="en-GB" sz="1200" dirty="0"/>
              <a:t>= </a:t>
            </a:r>
            <a:r>
              <a:rPr lang="cs-CZ" sz="1200" dirty="0"/>
              <a:t>galaktóza</a:t>
            </a:r>
            <a:endParaRPr lang="en-GB" sz="1200" dirty="0"/>
          </a:p>
          <a:p>
            <a:r>
              <a:rPr lang="cs-CZ" sz="1200" dirty="0"/>
              <a:t>Fialové kosočtverce </a:t>
            </a:r>
            <a:r>
              <a:rPr lang="en-GB" sz="1200" dirty="0"/>
              <a:t>= </a:t>
            </a:r>
            <a:r>
              <a:rPr lang="cs-CZ" sz="1200" dirty="0"/>
              <a:t>kyselina </a:t>
            </a:r>
            <a:r>
              <a:rPr lang="en-GB" sz="1200" dirty="0"/>
              <a:t>N-</a:t>
            </a:r>
            <a:r>
              <a:rPr lang="en-GB" sz="1200" dirty="0" err="1"/>
              <a:t>acetylneuramin</a:t>
            </a:r>
            <a:r>
              <a:rPr lang="cs-CZ" sz="1200" dirty="0" err="1"/>
              <a:t>ová</a:t>
            </a:r>
            <a:endParaRPr lang="en-GB" sz="1200" dirty="0"/>
          </a:p>
          <a:p>
            <a:r>
              <a:rPr lang="cs-CZ" sz="1200" dirty="0"/>
              <a:t>Červené trojúhelníčky </a:t>
            </a:r>
            <a:r>
              <a:rPr lang="en-GB" sz="1200" dirty="0"/>
              <a:t>= </a:t>
            </a:r>
            <a:r>
              <a:rPr lang="cs-CZ" sz="1200" dirty="0"/>
              <a:t>fukóza</a:t>
            </a:r>
            <a:endParaRPr lang="en-GB" sz="12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7A800C6-9E2A-491D-B7BC-87AE4467FE46}"/>
              </a:ext>
            </a:extLst>
          </p:cNvPr>
          <p:cNvSpPr txBox="1"/>
          <p:nvPr/>
        </p:nvSpPr>
        <p:spPr>
          <a:xfrm>
            <a:off x="251138" y="6342845"/>
            <a:ext cx="217457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 err="1"/>
              <a:t>Aldredge</a:t>
            </a:r>
            <a:r>
              <a:rPr lang="en-GB" sz="1600" dirty="0"/>
              <a:t> et al. (2013)</a:t>
            </a:r>
          </a:p>
        </p:txBody>
      </p:sp>
    </p:spTree>
    <p:extLst>
      <p:ext uri="{BB962C8B-B14F-4D97-AF65-F5344CB8AC3E}">
        <p14:creationId xmlns:p14="http://schemas.microsoft.com/office/powerpoint/2010/main" val="4234297904"/>
      </p:ext>
    </p:extLst>
  </p:cSld>
  <p:clrMapOvr>
    <a:masterClrMapping/>
  </p:clrMapOvr>
  <p:transition/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6C9874-5B6D-451C-8D8A-0A2447CFD9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Volné a vázané oligosacharidy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919E4C-10CC-44C9-BB44-57FD6125CBD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cs-CZ" dirty="0"/>
              <a:t>Kromě volných oligosacharidů obsahuje mléko také oligosacharidy vázané ve formě tzv. </a:t>
            </a:r>
            <a:r>
              <a:rPr lang="cs-CZ" dirty="0" err="1"/>
              <a:t>glykosylovaných</a:t>
            </a:r>
            <a:r>
              <a:rPr lang="cs-CZ" dirty="0"/>
              <a:t> proteinů a lipidů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49017F6-686A-4EAB-AB92-A23805B8EF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4580" y="2155305"/>
            <a:ext cx="5034840" cy="413836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DB63FCD-422E-4235-8551-30F9D4099564}"/>
              </a:ext>
            </a:extLst>
          </p:cNvPr>
          <p:cNvSpPr txBox="1"/>
          <p:nvPr/>
        </p:nvSpPr>
        <p:spPr>
          <a:xfrm>
            <a:off x="88386" y="6394361"/>
            <a:ext cx="211481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/>
              <a:t>Pacheco et al. (2015)</a:t>
            </a:r>
          </a:p>
        </p:txBody>
      </p:sp>
    </p:spTree>
    <p:extLst>
      <p:ext uri="{BB962C8B-B14F-4D97-AF65-F5344CB8AC3E}">
        <p14:creationId xmlns:p14="http://schemas.microsoft.com/office/powerpoint/2010/main" val="1347219913"/>
      </p:ext>
    </p:extLst>
  </p:cSld>
  <p:clrMapOvr>
    <a:masterClrMapping/>
  </p:clrMapOvr>
  <p:transition/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Mléčné oligosacharidy: funkce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cs-CZ" sz="1800" dirty="0" err="1"/>
              <a:t>Prebiotika</a:t>
            </a:r>
            <a:r>
              <a:rPr lang="en-GB" sz="1800" dirty="0"/>
              <a:t> – </a:t>
            </a:r>
            <a:r>
              <a:rPr lang="cs-CZ" sz="1800" dirty="0"/>
              <a:t>substráty podporující růst příznivých bakterií</a:t>
            </a:r>
            <a:endParaRPr lang="en-GB" sz="1800" dirty="0"/>
          </a:p>
          <a:p>
            <a:pPr marL="228600" indent="-228600">
              <a:buAutoNum type="arabicPeriod"/>
            </a:pPr>
            <a:endParaRPr lang="en-GB" sz="1800" dirty="0"/>
          </a:p>
          <a:p>
            <a:pPr marL="228600" indent="-228600">
              <a:buAutoNum type="arabicPeriod"/>
            </a:pPr>
            <a:r>
              <a:rPr lang="cs-CZ" sz="1800" dirty="0"/>
              <a:t>Zabraňují vázání patogenů na střevní epitel</a:t>
            </a:r>
            <a:endParaRPr lang="en-GB" sz="1800" dirty="0"/>
          </a:p>
          <a:p>
            <a:pPr marL="0" indent="0"/>
            <a:endParaRPr lang="en-GB" sz="2400" dirty="0"/>
          </a:p>
          <a:p>
            <a:pPr marL="0" indent="0"/>
            <a:endParaRPr lang="en-GB" sz="2400" dirty="0"/>
          </a:p>
          <a:p>
            <a:pPr marL="0" indent="0"/>
            <a:endParaRPr lang="en-GB" sz="2400" dirty="0"/>
          </a:p>
          <a:p>
            <a:endParaRPr lang="en-GB" sz="2400" dirty="0"/>
          </a:p>
          <a:p>
            <a:endParaRPr lang="en-GB" sz="2400" dirty="0"/>
          </a:p>
          <a:p>
            <a:endParaRPr lang="en-GB" sz="2400" dirty="0"/>
          </a:p>
          <a:p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265370954"/>
      </p:ext>
    </p:extLst>
  </p:cSld>
  <p:clrMapOvr>
    <a:masterClrMapping/>
  </p:clrMapOvr>
  <p:transition/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2060" y="1221638"/>
            <a:ext cx="4871178" cy="5185448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i="1" dirty="0" err="1"/>
              <a:t>Faecalibacterium</a:t>
            </a:r>
            <a:r>
              <a:rPr lang="en-GB" sz="2400" i="1" dirty="0"/>
              <a:t> </a:t>
            </a:r>
            <a:r>
              <a:rPr lang="en-GB" sz="2400" i="1" dirty="0" err="1"/>
              <a:t>prausnitzii</a:t>
            </a:r>
            <a:r>
              <a:rPr lang="en-GB" sz="2400" i="1" dirty="0"/>
              <a:t> </a:t>
            </a:r>
            <a:r>
              <a:rPr lang="cs-CZ" sz="2400" dirty="0"/>
              <a:t>a průjmy u telat</a:t>
            </a:r>
            <a:endParaRPr lang="nl-NL" sz="2400" dirty="0"/>
          </a:p>
        </p:txBody>
      </p:sp>
      <p:sp>
        <p:nvSpPr>
          <p:cNvPr id="7" name="TextBox 6"/>
          <p:cNvSpPr txBox="1"/>
          <p:nvPr/>
        </p:nvSpPr>
        <p:spPr>
          <a:xfrm>
            <a:off x="62615" y="6482617"/>
            <a:ext cx="1848839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rtlCol="0">
            <a:spAutoFit/>
          </a:bodyPr>
          <a:lstStyle/>
          <a:p>
            <a:r>
              <a:rPr lang="en-GB" sz="1200"/>
              <a:t>Oikonomou et </a:t>
            </a:r>
            <a:r>
              <a:rPr lang="en-GB" sz="1200" dirty="0"/>
              <a:t>al. (2013)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362810" y="3865029"/>
            <a:ext cx="1885453" cy="246221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none" rtlCol="0">
            <a:spAutoFit/>
          </a:bodyPr>
          <a:lstStyle/>
          <a:p>
            <a:r>
              <a:rPr lang="cs-CZ" sz="1000" dirty="0"/>
              <a:t>Telata odstavená cca. 45. den</a:t>
            </a:r>
            <a:endParaRPr lang="en-GB" sz="10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463A824-AE4A-4E5C-AC04-AB1AD6FAE016}"/>
              </a:ext>
            </a:extLst>
          </p:cNvPr>
          <p:cNvSpPr txBox="1"/>
          <p:nvPr/>
        </p:nvSpPr>
        <p:spPr>
          <a:xfrm>
            <a:off x="3996591" y="1265260"/>
            <a:ext cx="3350806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dirty="0"/>
              <a:t>Telata s největší populací </a:t>
            </a:r>
            <a:br>
              <a:rPr lang="cs-CZ" dirty="0"/>
            </a:br>
            <a:r>
              <a:rPr lang="en-GB" i="1" dirty="0"/>
              <a:t>F. </a:t>
            </a:r>
            <a:r>
              <a:rPr lang="en-GB" i="1" dirty="0" err="1"/>
              <a:t>prausnitzii</a:t>
            </a:r>
            <a:r>
              <a:rPr lang="en-GB" i="1" dirty="0"/>
              <a:t> </a:t>
            </a:r>
            <a:r>
              <a:rPr lang="cs-CZ" dirty="0"/>
              <a:t>rostla nejrychleji</a:t>
            </a:r>
            <a:endParaRPr lang="en-GB" dirty="0"/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DE06952D-8B92-4E32-84C0-7AA466ED491E}"/>
              </a:ext>
            </a:extLst>
          </p:cNvPr>
          <p:cNvCxnSpPr>
            <a:cxnSpLocks/>
          </p:cNvCxnSpPr>
          <p:nvPr/>
        </p:nvCxnSpPr>
        <p:spPr>
          <a:xfrm flipH="1">
            <a:off x="3361387" y="1616138"/>
            <a:ext cx="635204" cy="1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ACC799CD-10C6-45BC-9B86-E805AC5FB5B8}"/>
              </a:ext>
            </a:extLst>
          </p:cNvPr>
          <p:cNvSpPr txBox="1"/>
          <p:nvPr/>
        </p:nvSpPr>
        <p:spPr>
          <a:xfrm>
            <a:off x="4091037" y="5163710"/>
            <a:ext cx="360409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cs-CZ" dirty="0"/>
              <a:t>Telata s největší populací </a:t>
            </a:r>
            <a:r>
              <a:rPr lang="en-GB" i="1" dirty="0"/>
              <a:t>F. </a:t>
            </a:r>
            <a:r>
              <a:rPr lang="en-GB" i="1" dirty="0" err="1"/>
              <a:t>prausnitzii</a:t>
            </a:r>
            <a:r>
              <a:rPr lang="en-GB" i="1" dirty="0"/>
              <a:t> </a:t>
            </a:r>
            <a:r>
              <a:rPr lang="cs-CZ" dirty="0"/>
              <a:t>měla nejméně průjmů</a:t>
            </a:r>
            <a:endParaRPr lang="en-GB" dirty="0"/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E0C024C7-A27B-472B-81EB-70A3462F58DC}"/>
              </a:ext>
            </a:extLst>
          </p:cNvPr>
          <p:cNvCxnSpPr/>
          <p:nvPr/>
        </p:nvCxnSpPr>
        <p:spPr>
          <a:xfrm flipH="1">
            <a:off x="3206839" y="5636362"/>
            <a:ext cx="875764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2374471"/>
      </p:ext>
    </p:extLst>
  </p:cSld>
  <p:clrMapOvr>
    <a:masterClrMapping/>
  </p:clrMapOvr>
  <p:transition/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Rectangle 66">
            <a:extLst>
              <a:ext uri="{FF2B5EF4-FFF2-40B4-BE49-F238E27FC236}">
                <a16:creationId xmlns:a16="http://schemas.microsoft.com/office/drawing/2014/main" id="{4121AFBE-9D59-3E49-B4A9-6B5CFE27239B}"/>
              </a:ext>
            </a:extLst>
          </p:cNvPr>
          <p:cNvSpPr/>
          <p:nvPr/>
        </p:nvSpPr>
        <p:spPr>
          <a:xfrm>
            <a:off x="230020" y="1262893"/>
            <a:ext cx="2848271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Dvě mléčné náhražky </a:t>
            </a:r>
            <a:r>
              <a:rPr lang="en-GB" sz="1600" dirty="0" err="1">
                <a:latin typeface="Arial" panose="020B0604020202020204" pitchFamily="34" charset="0"/>
                <a:cs typeface="Arial" panose="020B0604020202020204" pitchFamily="34" charset="0"/>
              </a:rPr>
              <a:t>Volac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byly hodnoceny v pilotním experimentu na 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University of Liverpool</a:t>
            </a:r>
          </a:p>
          <a:p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Mléčná náhražka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2 (</a:t>
            </a: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modrá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podporovala více žádoucí fekální </a:t>
            </a:r>
            <a:r>
              <a:rPr lang="cs-CZ" sz="1600" dirty="0" err="1">
                <a:latin typeface="Arial" panose="020B0604020202020204" pitchFamily="34" charset="0"/>
                <a:cs typeface="Arial" panose="020B0604020202020204" pitchFamily="34" charset="0"/>
              </a:rPr>
              <a:t>mikrobiom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více </a:t>
            </a:r>
            <a:r>
              <a:rPr lang="en-GB" sz="1600" i="1" dirty="0" err="1">
                <a:latin typeface="Arial" panose="020B0604020202020204" pitchFamily="34" charset="0"/>
                <a:cs typeface="Arial" panose="020B0604020202020204" pitchFamily="34" charset="0"/>
              </a:rPr>
              <a:t>Bifidibacteria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en-GB" sz="1600" i="1" dirty="0" err="1">
                <a:latin typeface="Arial" panose="020B0604020202020204" pitchFamily="34" charset="0"/>
                <a:cs typeface="Arial" panose="020B0604020202020204" pitchFamily="34" charset="0"/>
              </a:rPr>
              <a:t>Faecalibacteria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</a:p>
          <a:p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Je potřeba dalších výzkumů pro kvantifikaci volných a vázaných oligosacharidů v komponentech mléčných náhražek.</a:t>
            </a: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8" name="Picture 87">
            <a:extLst>
              <a:ext uri="{FF2B5EF4-FFF2-40B4-BE49-F238E27FC236}">
                <a16:creationId xmlns:a16="http://schemas.microsoft.com/office/drawing/2014/main" id="{C96F9DA6-EE0E-3049-8DFD-209B30D819B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14126" y="5945713"/>
            <a:ext cx="2271054" cy="927112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19E16C9-AA37-B44E-B4D8-1A96D11BE5E6}"/>
              </a:ext>
            </a:extLst>
          </p:cNvPr>
          <p:cNvSpPr/>
          <p:nvPr/>
        </p:nvSpPr>
        <p:spPr>
          <a:xfrm>
            <a:off x="10037561" y="-417352"/>
            <a:ext cx="4572000" cy="230832"/>
          </a:xfrm>
          <a:prstGeom prst="rect">
            <a:avLst/>
          </a:prstGeom>
        </p:spPr>
        <p:txBody>
          <a:bodyPr>
            <a:spAutoFit/>
          </a:bodyPr>
          <a:lstStyle/>
          <a:p>
            <a:pPr marL="135255" algn="just"/>
            <a:r>
              <a:rPr lang="en-GB" sz="900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 </a:t>
            </a:r>
            <a:endParaRPr lang="en-GB" sz="900" dirty="0">
              <a:latin typeface="Times" pitchFamily="2" charset="0"/>
              <a:ea typeface="MS Mincho" panose="02020609040205080304" pitchFamily="49" charset="-128"/>
              <a:cs typeface="Times New Roman" panose="02020603050405020304" pitchFamily="18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0CD4E0D-9552-438E-8113-CE27AAC62E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-27384"/>
            <a:ext cx="8229600" cy="1143000"/>
          </a:xfrm>
        </p:spPr>
        <p:txBody>
          <a:bodyPr/>
          <a:lstStyle/>
          <a:p>
            <a:r>
              <a:rPr lang="cs-CZ" dirty="0"/>
              <a:t>Mléčné náhražky </a:t>
            </a:r>
            <a:r>
              <a:rPr lang="cs-CZ" dirty="0" err="1"/>
              <a:t>Volac</a:t>
            </a:r>
            <a:r>
              <a:rPr lang="cs-CZ" dirty="0"/>
              <a:t> a </a:t>
            </a:r>
            <a:r>
              <a:rPr lang="cs-CZ" dirty="0" err="1"/>
              <a:t>mikrobiom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230DF3C-FE34-4876-B5D3-FF5C480D2F0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10371" y="1262893"/>
            <a:ext cx="5903609" cy="3412138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443060037"/>
      </p:ext>
    </p:extLst>
  </p:cSld>
  <p:clrMapOvr>
    <a:masterClrMapping/>
  </p:clrMapOvr>
  <p:transition/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703096" y="6356350"/>
            <a:ext cx="261392" cy="365125"/>
          </a:xfrm>
          <a:prstGeom prst="rect">
            <a:avLst/>
          </a:prstGeom>
        </p:spPr>
        <p:txBody>
          <a:bodyPr/>
          <a:lstStyle/>
          <a:p>
            <a:fld id="{80D6757C-AADA-42E6-900C-AE6D99EF5A31}" type="slidenum">
              <a:rPr lang="en-GB" smtClean="0">
                <a:solidFill>
                  <a:srgbClr val="655C59">
                    <a:tint val="75000"/>
                  </a:srgbClr>
                </a:solidFill>
              </a:rPr>
              <a:pPr/>
              <a:t>45</a:t>
            </a:fld>
            <a:endParaRPr lang="en-GB" dirty="0">
              <a:solidFill>
                <a:srgbClr val="655C59">
                  <a:tint val="75000"/>
                </a:srgbClr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Hlubší pohled</a:t>
            </a:r>
            <a:r>
              <a:rPr lang="en-GB" dirty="0"/>
              <a:t>…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1700808"/>
            <a:ext cx="2481175" cy="3312368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8759" y="1686064"/>
            <a:ext cx="2481175" cy="3312368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0808" y="1700809"/>
            <a:ext cx="2481175" cy="3312368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8" name="TextBox 7"/>
          <p:cNvSpPr txBox="1"/>
          <p:nvPr/>
        </p:nvSpPr>
        <p:spPr>
          <a:xfrm>
            <a:off x="1220527" y="1231268"/>
            <a:ext cx="1073692" cy="3693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rgbClr val="C00000"/>
                </a:solidFill>
              </a:rPr>
              <a:t>Bílkoviny</a:t>
            </a:r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244863" y="1231268"/>
            <a:ext cx="777777" cy="369332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rgbClr val="0070C0"/>
                </a:solidFill>
              </a:rPr>
              <a:t>Lipid</a:t>
            </a:r>
            <a:r>
              <a:rPr lang="cs-CZ" dirty="0">
                <a:solidFill>
                  <a:srgbClr val="0070C0"/>
                </a:solidFill>
              </a:rPr>
              <a:t>y</a:t>
            </a:r>
            <a:endParaRPr lang="en-GB" dirty="0">
              <a:solidFill>
                <a:srgbClr val="0070C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621127" y="1231268"/>
            <a:ext cx="1144865" cy="369332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chemeClr val="accent4"/>
                </a:solidFill>
              </a:rPr>
              <a:t>sacharidy</a:t>
            </a:r>
            <a:endParaRPr lang="en-GB" dirty="0">
              <a:solidFill>
                <a:schemeClr val="accent4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72951" y="2276872"/>
            <a:ext cx="1616148" cy="369332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rgbClr val="C00000"/>
                </a:solidFill>
              </a:rPr>
              <a:t>Dusíkaté látky</a:t>
            </a:r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148519" y="3068960"/>
            <a:ext cx="1011815" cy="369332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rgbClr val="C00000"/>
                </a:solidFill>
              </a:rPr>
              <a:t>Proteiny</a:t>
            </a:r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966501" y="3861048"/>
            <a:ext cx="1625573" cy="369332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rgbClr val="C00000"/>
                </a:solidFill>
              </a:rPr>
              <a:t>Aminokyseliny</a:t>
            </a:r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956831" y="2270832"/>
            <a:ext cx="1188146" cy="369332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rgbClr val="0070C0"/>
                </a:solidFill>
              </a:rPr>
              <a:t>Hrubý tuk</a:t>
            </a:r>
            <a:endParaRPr lang="en-GB" dirty="0">
              <a:solidFill>
                <a:srgbClr val="0070C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199990" y="3068960"/>
            <a:ext cx="777777" cy="369332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rgbClr val="0070C0"/>
                </a:solidFill>
              </a:rPr>
              <a:t>Lipidy</a:t>
            </a:r>
            <a:endParaRPr lang="en-GB" dirty="0">
              <a:solidFill>
                <a:srgbClr val="0070C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983966" y="3861048"/>
            <a:ext cx="1789080" cy="369332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rgbClr val="0070C0"/>
                </a:solidFill>
              </a:rPr>
              <a:t>Mastné kyseliny</a:t>
            </a:r>
            <a:endParaRPr lang="en-GB" dirty="0">
              <a:solidFill>
                <a:srgbClr val="0070C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261087" y="2708920"/>
            <a:ext cx="963725" cy="369332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chemeClr val="accent4"/>
                </a:solidFill>
              </a:rPr>
              <a:t>Laktóza</a:t>
            </a:r>
            <a:endParaRPr lang="en-GB" dirty="0">
              <a:solidFill>
                <a:schemeClr val="accent4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273997" y="3779749"/>
            <a:ext cx="2075768" cy="369332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txBody>
          <a:bodyPr wrap="square" rtlCol="0">
            <a:spAutoFit/>
          </a:bodyPr>
          <a:lstStyle/>
          <a:p>
            <a:r>
              <a:rPr lang="cs-CZ" dirty="0">
                <a:solidFill>
                  <a:schemeClr val="accent4"/>
                </a:solidFill>
              </a:rPr>
              <a:t>Složené sacharidy</a:t>
            </a:r>
            <a:endParaRPr lang="en-GB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0929025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311C25F-41BF-4FAD-8234-4F7FEAD08E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41438"/>
            <a:ext cx="8229600" cy="4248150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cs-CZ" dirty="0"/>
              <a:t>Etiketa</a:t>
            </a:r>
            <a:endParaRPr lang="en-GB" dirty="0"/>
          </a:p>
          <a:p>
            <a:pPr marL="342900" indent="-342900">
              <a:buFont typeface="+mj-lt"/>
              <a:buAutoNum type="arabicPeriod"/>
            </a:pPr>
            <a:r>
              <a:rPr lang="cs-CZ" dirty="0"/>
              <a:t>Učebnice</a:t>
            </a:r>
            <a:endParaRPr lang="en-GB" dirty="0"/>
          </a:p>
          <a:p>
            <a:pPr marL="342900" indent="-342900">
              <a:buFont typeface="+mj-lt"/>
              <a:buAutoNum type="arabicPeriod"/>
            </a:pPr>
            <a:r>
              <a:rPr lang="cs-CZ" dirty="0"/>
              <a:t>Hlubší pohled</a:t>
            </a:r>
            <a:r>
              <a:rPr lang="en-GB" dirty="0"/>
              <a:t>…</a:t>
            </a:r>
          </a:p>
          <a:p>
            <a:pPr marL="819150" lvl="1" indent="-342900">
              <a:buFont typeface="+mj-lt"/>
              <a:buAutoNum type="arabicPeriod"/>
            </a:pPr>
            <a:r>
              <a:rPr lang="cs-CZ" dirty="0"/>
              <a:t>Bílkovina</a:t>
            </a:r>
            <a:endParaRPr lang="en-GB" dirty="0"/>
          </a:p>
          <a:p>
            <a:pPr marL="819150" lvl="1" indent="-342900">
              <a:buFont typeface="+mj-lt"/>
              <a:buAutoNum type="arabicPeriod"/>
            </a:pPr>
            <a:r>
              <a:rPr lang="cs-CZ" dirty="0"/>
              <a:t>Tuk</a:t>
            </a:r>
            <a:endParaRPr lang="en-GB" dirty="0"/>
          </a:p>
          <a:p>
            <a:pPr marL="819150" lvl="1" indent="-342900">
              <a:buFont typeface="+mj-lt"/>
              <a:buAutoNum type="arabicPeriod"/>
            </a:pPr>
            <a:r>
              <a:rPr lang="cs-CZ" dirty="0"/>
              <a:t>Sacharidy</a:t>
            </a:r>
            <a:endParaRPr lang="en-GB" dirty="0"/>
          </a:p>
          <a:p>
            <a:pPr marL="342900" indent="-342900">
              <a:buFont typeface="+mj-lt"/>
              <a:buAutoNum type="arabicPeriod"/>
            </a:pPr>
            <a:endParaRPr lang="en-GB" dirty="0"/>
          </a:p>
          <a:p>
            <a:pPr marL="342900" indent="-342900">
              <a:buFont typeface="+mj-lt"/>
              <a:buAutoNum type="arabicPeriod"/>
            </a:pPr>
            <a:endParaRPr lang="en-GB" dirty="0"/>
          </a:p>
          <a:p>
            <a:pPr lvl="1"/>
            <a:endParaRPr lang="en-GB" dirty="0"/>
          </a:p>
          <a:p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D405B17-9B66-45E6-8A03-E3A5F98164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-143294"/>
            <a:ext cx="8229600" cy="1143000"/>
          </a:xfrm>
        </p:spPr>
        <p:txBody>
          <a:bodyPr>
            <a:normAutofit/>
          </a:bodyPr>
          <a:lstStyle/>
          <a:p>
            <a:r>
              <a:rPr lang="cs-CZ" sz="2000" dirty="0"/>
              <a:t>Detailnější pohled na nutriční hodnotu mléčných náhražek pro telata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1458094368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D405B17-9B66-45E6-8A03-E3A5F98164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sz="2400" dirty="0"/>
              <a:t>Etiketa</a:t>
            </a:r>
            <a:endParaRPr lang="en-GB" sz="24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FC7A027-A8DA-4881-B068-EAACEC2927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6597" y="1263558"/>
            <a:ext cx="7250806" cy="4832913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619118148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D405B17-9B66-45E6-8A03-E3A5F98164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sz="2400" dirty="0"/>
              <a:t>Učebnice</a:t>
            </a:r>
            <a:endParaRPr lang="en-GB" sz="240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CFE8A9D-4C08-4C23-9506-AD02F468A7EA}"/>
              </a:ext>
            </a:extLst>
          </p:cNvPr>
          <p:cNvSpPr/>
          <p:nvPr/>
        </p:nvSpPr>
        <p:spPr>
          <a:xfrm>
            <a:off x="335449" y="1633159"/>
            <a:ext cx="719328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600" dirty="0"/>
              <a:t>Potřeba </a:t>
            </a:r>
            <a:r>
              <a:rPr lang="en-GB" sz="1600" dirty="0"/>
              <a:t>ME (</a:t>
            </a:r>
            <a:r>
              <a:rPr lang="en-GB" sz="1600" dirty="0" err="1"/>
              <a:t>Mcal</a:t>
            </a:r>
            <a:r>
              <a:rPr lang="en-GB" sz="1600" dirty="0"/>
              <a:t>/d) = 0.1 </a:t>
            </a:r>
            <a:r>
              <a:rPr lang="cs-CZ" sz="1600" dirty="0" err="1"/>
              <a:t>ž.h</a:t>
            </a:r>
            <a:r>
              <a:rPr lang="cs-CZ" sz="1600" dirty="0"/>
              <a:t>.</a:t>
            </a:r>
            <a:r>
              <a:rPr lang="en-GB" sz="1600" baseline="30000" dirty="0"/>
              <a:t>0.75</a:t>
            </a:r>
            <a:r>
              <a:rPr lang="en-GB" sz="1600" dirty="0"/>
              <a:t> + (0.84 </a:t>
            </a:r>
            <a:r>
              <a:rPr lang="cs-CZ" sz="1600" dirty="0" err="1"/>
              <a:t>ž.h</a:t>
            </a:r>
            <a:r>
              <a:rPr lang="cs-CZ" sz="1600" dirty="0"/>
              <a:t>.</a:t>
            </a:r>
            <a:r>
              <a:rPr lang="en-GB" sz="1600" baseline="30000" dirty="0"/>
              <a:t>0.355</a:t>
            </a:r>
            <a:r>
              <a:rPr lang="en-GB" sz="1600" dirty="0"/>
              <a:t>  × </a:t>
            </a:r>
            <a:r>
              <a:rPr lang="cs-CZ" sz="1600" dirty="0"/>
              <a:t>přírůstek hmotnosti</a:t>
            </a:r>
            <a:r>
              <a:rPr lang="en-GB" sz="1600" baseline="30000" dirty="0"/>
              <a:t>1.2)</a:t>
            </a:r>
          </a:p>
          <a:p>
            <a:endParaRPr lang="en-GB" sz="1600" dirty="0"/>
          </a:p>
          <a:p>
            <a:r>
              <a:rPr lang="en-GB" sz="1600" dirty="0"/>
              <a:t>ME </a:t>
            </a:r>
            <a:r>
              <a:rPr lang="cs-CZ" sz="1600" dirty="0"/>
              <a:t>v mléčné náhražce </a:t>
            </a:r>
            <a:r>
              <a:rPr lang="en-GB" sz="1600" dirty="0"/>
              <a:t>(</a:t>
            </a:r>
            <a:r>
              <a:rPr lang="en-GB" sz="1600" dirty="0" err="1"/>
              <a:t>Mcal</a:t>
            </a:r>
            <a:r>
              <a:rPr lang="en-GB" sz="1600" dirty="0"/>
              <a:t>/kg) = </a:t>
            </a:r>
          </a:p>
          <a:p>
            <a:r>
              <a:rPr lang="en-GB" sz="1600" dirty="0"/>
              <a:t>[0.057 × </a:t>
            </a:r>
            <a:r>
              <a:rPr lang="cs-CZ" sz="1600" dirty="0" err="1"/>
              <a:t>NL</a:t>
            </a:r>
            <a:r>
              <a:rPr lang="en-GB" sz="1600" dirty="0"/>
              <a:t> (%) + 0.092 × </a:t>
            </a:r>
            <a:r>
              <a:rPr lang="cs-CZ" sz="1600" dirty="0"/>
              <a:t>tuk</a:t>
            </a:r>
            <a:r>
              <a:rPr lang="en-GB" sz="1600" dirty="0"/>
              <a:t> (%) + 0.0395 × </a:t>
            </a:r>
            <a:r>
              <a:rPr lang="cs-CZ" sz="1600" dirty="0"/>
              <a:t>laktóza </a:t>
            </a:r>
            <a:r>
              <a:rPr lang="en-GB" sz="1600" dirty="0"/>
              <a:t>(%)] × 0.9312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24BA7F0-5324-471F-9144-CB5FCD10D3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5698361"/>
              </p:ext>
            </p:extLst>
          </p:nvPr>
        </p:nvGraphicFramePr>
        <p:xfrm>
          <a:off x="1750902" y="2979247"/>
          <a:ext cx="5757951" cy="16029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19317">
                  <a:extLst>
                    <a:ext uri="{9D8B030D-6E8A-4147-A177-3AD203B41FA5}">
                      <a16:colId xmlns:a16="http://schemas.microsoft.com/office/drawing/2014/main" val="3140219483"/>
                    </a:ext>
                  </a:extLst>
                </a:gridCol>
                <a:gridCol w="1919317">
                  <a:extLst>
                    <a:ext uri="{9D8B030D-6E8A-4147-A177-3AD203B41FA5}">
                      <a16:colId xmlns:a16="http://schemas.microsoft.com/office/drawing/2014/main" val="2710848419"/>
                    </a:ext>
                  </a:extLst>
                </a:gridCol>
                <a:gridCol w="1919317">
                  <a:extLst>
                    <a:ext uri="{9D8B030D-6E8A-4147-A177-3AD203B41FA5}">
                      <a16:colId xmlns:a16="http://schemas.microsoft.com/office/drawing/2014/main" val="3669349425"/>
                    </a:ext>
                  </a:extLst>
                </a:gridCol>
              </a:tblGrid>
              <a:tr h="532955"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Tělesná hmotnost </a:t>
                      </a:r>
                      <a:r>
                        <a:rPr lang="en-GB" sz="1600" dirty="0"/>
                        <a:t>(kg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Přírůstek </a:t>
                      </a:r>
                      <a:r>
                        <a:rPr lang="en-GB" sz="1600" dirty="0"/>
                        <a:t>(kg/d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 err="1"/>
                        <a:t>NL</a:t>
                      </a:r>
                      <a:r>
                        <a:rPr lang="en-GB" sz="1600" dirty="0"/>
                        <a:t> (g/</a:t>
                      </a:r>
                      <a:r>
                        <a:rPr lang="en-GB" sz="1600" dirty="0" err="1"/>
                        <a:t>Mcal</a:t>
                      </a:r>
                      <a:r>
                        <a:rPr lang="en-GB" sz="1600" dirty="0"/>
                        <a:t> M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4278080"/>
                  </a:ext>
                </a:extLst>
              </a:tr>
              <a:tr h="341278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4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0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59.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0696514"/>
                  </a:ext>
                </a:extLst>
              </a:tr>
              <a:tr h="341278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0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57.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11499565"/>
                  </a:ext>
                </a:extLst>
              </a:tr>
              <a:tr h="341278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5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0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55.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778716"/>
                  </a:ext>
                </a:extLst>
              </a:tr>
            </a:tbl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266960BD-FD71-446C-AFB9-01824A1428E8}"/>
              </a:ext>
            </a:extLst>
          </p:cNvPr>
          <p:cNvSpPr/>
          <p:nvPr/>
        </p:nvSpPr>
        <p:spPr>
          <a:xfrm>
            <a:off x="158903" y="1468192"/>
            <a:ext cx="7970632" cy="3511877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C1450BD-E07E-44EE-B14D-4F04DFC8E3C2}"/>
              </a:ext>
            </a:extLst>
          </p:cNvPr>
          <p:cNvSpPr txBox="1"/>
          <p:nvPr/>
        </p:nvSpPr>
        <p:spPr>
          <a:xfrm>
            <a:off x="7576092" y="4259557"/>
            <a:ext cx="1454079" cy="1754326"/>
          </a:xfrm>
          <a:prstGeom prst="rect">
            <a:avLst/>
          </a:prstGeom>
          <a:solidFill>
            <a:srgbClr val="9966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en-GB" b="1" dirty="0">
              <a:solidFill>
                <a:schemeClr val="bg1"/>
              </a:solidFill>
            </a:endParaRPr>
          </a:p>
          <a:p>
            <a:pPr algn="ctr"/>
            <a:r>
              <a:rPr lang="en-GB" b="1" dirty="0">
                <a:solidFill>
                  <a:schemeClr val="bg1"/>
                </a:solidFill>
              </a:rPr>
              <a:t>NRC (2019)?</a:t>
            </a:r>
          </a:p>
          <a:p>
            <a:pPr algn="ctr"/>
            <a:endParaRPr lang="en-GB" b="1" dirty="0">
              <a:solidFill>
                <a:schemeClr val="bg1"/>
              </a:solidFill>
            </a:endParaRPr>
          </a:p>
          <a:p>
            <a:pPr algn="ctr"/>
            <a:endParaRPr lang="en-GB" b="1" dirty="0">
              <a:solidFill>
                <a:schemeClr val="bg1"/>
              </a:solidFill>
            </a:endParaRPr>
          </a:p>
          <a:p>
            <a:pPr algn="ctr"/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5F147A6-5765-4B0C-A934-DAF16B8E8B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06978" y="69898"/>
            <a:ext cx="1578119" cy="2077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23415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703096" y="6356350"/>
            <a:ext cx="261392" cy="365125"/>
          </a:xfrm>
          <a:prstGeom prst="rect">
            <a:avLst/>
          </a:prstGeom>
        </p:spPr>
        <p:txBody>
          <a:bodyPr/>
          <a:lstStyle/>
          <a:p>
            <a:fld id="{80D6757C-AADA-42E6-900C-AE6D99EF5A31}" type="slidenum">
              <a:rPr lang="en-GB" smtClean="0">
                <a:solidFill>
                  <a:srgbClr val="655C59">
                    <a:tint val="75000"/>
                  </a:srgbClr>
                </a:solidFill>
              </a:rPr>
              <a:pPr/>
              <a:t>8</a:t>
            </a:fld>
            <a:endParaRPr lang="en-GB" dirty="0">
              <a:solidFill>
                <a:srgbClr val="655C59">
                  <a:tint val="75000"/>
                </a:srgbClr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Hlubší pohled</a:t>
            </a:r>
            <a:r>
              <a:rPr lang="en-GB" dirty="0"/>
              <a:t>…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1700808"/>
            <a:ext cx="2481175" cy="3312368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8759" y="1686064"/>
            <a:ext cx="2481175" cy="3312368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0808" y="1700809"/>
            <a:ext cx="2481175" cy="3312368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8" name="TextBox 7"/>
          <p:cNvSpPr txBox="1"/>
          <p:nvPr/>
        </p:nvSpPr>
        <p:spPr>
          <a:xfrm>
            <a:off x="1220527" y="1231268"/>
            <a:ext cx="1073692" cy="3693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rgbClr val="C00000"/>
                </a:solidFill>
              </a:rPr>
              <a:t>Bílkoviny</a:t>
            </a:r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244863" y="1231268"/>
            <a:ext cx="777777" cy="369332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rgbClr val="0070C0"/>
                </a:solidFill>
              </a:rPr>
              <a:t>Lipidy</a:t>
            </a:r>
            <a:endParaRPr lang="en-GB" dirty="0">
              <a:solidFill>
                <a:srgbClr val="0070C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621127" y="1231268"/>
            <a:ext cx="1170513" cy="369332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chemeClr val="accent4"/>
                </a:solidFill>
              </a:rPr>
              <a:t>Sacharidy</a:t>
            </a:r>
            <a:endParaRPr lang="en-GB" dirty="0">
              <a:solidFill>
                <a:schemeClr val="accent4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72951" y="2276872"/>
            <a:ext cx="1616148" cy="369332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rgbClr val="C00000"/>
                </a:solidFill>
              </a:rPr>
              <a:t>Dusíkaté látky</a:t>
            </a:r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148519" y="3068960"/>
            <a:ext cx="1011815" cy="369332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rgbClr val="C00000"/>
                </a:solidFill>
              </a:rPr>
              <a:t>Proteiny</a:t>
            </a:r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966501" y="3861048"/>
            <a:ext cx="1625573" cy="369332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rgbClr val="C00000"/>
                </a:solidFill>
              </a:rPr>
              <a:t>Aminokyseliny</a:t>
            </a:r>
            <a:endParaRPr lang="en-GB" dirty="0">
              <a:solidFill>
                <a:srgbClr val="C0000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956831" y="2270832"/>
            <a:ext cx="1188146" cy="369332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rgbClr val="0070C0"/>
                </a:solidFill>
              </a:rPr>
              <a:t>Hrubý tuk</a:t>
            </a:r>
            <a:endParaRPr lang="en-GB" dirty="0">
              <a:solidFill>
                <a:srgbClr val="0070C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199990" y="3068960"/>
            <a:ext cx="777777" cy="369332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rgbClr val="0070C0"/>
                </a:solidFill>
              </a:rPr>
              <a:t>Lipidy</a:t>
            </a:r>
            <a:endParaRPr lang="en-GB" dirty="0">
              <a:solidFill>
                <a:srgbClr val="0070C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694338" y="3861048"/>
            <a:ext cx="1789080" cy="369332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rgbClr val="0070C0"/>
                </a:solidFill>
              </a:rPr>
              <a:t>Mastné kyseliny</a:t>
            </a:r>
            <a:endParaRPr lang="en-GB" dirty="0">
              <a:solidFill>
                <a:srgbClr val="0070C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874341" y="2699628"/>
            <a:ext cx="963725" cy="369332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chemeClr val="accent4"/>
                </a:solidFill>
              </a:rPr>
              <a:t>Laktóza</a:t>
            </a:r>
            <a:endParaRPr lang="en-GB" dirty="0">
              <a:solidFill>
                <a:schemeClr val="accent4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293198" y="3637827"/>
            <a:ext cx="2298785" cy="369332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txBody>
          <a:bodyPr wrap="square" rtlCol="0">
            <a:spAutoFit/>
          </a:bodyPr>
          <a:lstStyle/>
          <a:p>
            <a:r>
              <a:rPr lang="cs-CZ" dirty="0">
                <a:solidFill>
                  <a:schemeClr val="accent4"/>
                </a:solidFill>
              </a:rPr>
              <a:t>Složené sacharidy</a:t>
            </a:r>
            <a:endParaRPr lang="en-GB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5732486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2BF730-9B47-489E-A828-3F1D18B04E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Bílkoviny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D68CCB-F506-45E1-9AA6-D4DEE8E903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9746" y="892583"/>
            <a:ext cx="5120640" cy="1133836"/>
          </a:xfrm>
          <a:ln>
            <a:solidFill>
              <a:schemeClr val="tx2"/>
            </a:solidFill>
          </a:ln>
        </p:spPr>
        <p:txBody>
          <a:bodyPr/>
          <a:lstStyle/>
          <a:p>
            <a:r>
              <a:rPr lang="cs-CZ" sz="1400" dirty="0"/>
              <a:t>Aminokyseliny</a:t>
            </a: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200" dirty="0"/>
              <a:t>Organické sloučeniny obsahující aminoskupiny </a:t>
            </a:r>
            <a:r>
              <a:rPr lang="en-US" sz="1200" dirty="0"/>
              <a:t>(-NH2) a</a:t>
            </a:r>
            <a:r>
              <a:rPr lang="cs-CZ" sz="1200" dirty="0"/>
              <a:t> karboxylové skupiny</a:t>
            </a:r>
            <a:r>
              <a:rPr lang="en-US" sz="1200" dirty="0"/>
              <a:t> (-COOH), </a:t>
            </a:r>
            <a:r>
              <a:rPr lang="cs-CZ" sz="1200" dirty="0"/>
              <a:t>s postranními řetězci</a:t>
            </a:r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dirty="0"/>
              <a:t>20 </a:t>
            </a:r>
            <a:r>
              <a:rPr lang="cs-CZ" sz="1200" dirty="0"/>
              <a:t>aminokyselin se běžně nachází v bílkovinách</a:t>
            </a:r>
            <a:r>
              <a:rPr lang="en-US" sz="1200" dirty="0"/>
              <a:t>, </a:t>
            </a:r>
            <a:r>
              <a:rPr lang="cs-CZ" sz="1200" dirty="0"/>
              <a:t>jsou spojeny peptidovými vazbami</a:t>
            </a:r>
            <a:endParaRPr lang="en-GB" sz="14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71C5694-A5D3-4F62-99B3-2D8D2DF48F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24945" y="-1"/>
            <a:ext cx="3519055" cy="460697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91C089F-D45E-4F1C-B0A1-0C031CF190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2059671"/>
            <a:ext cx="3003665" cy="4853748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83C184CE-14BD-496B-B604-63A3A4F2EAF7}"/>
              </a:ext>
            </a:extLst>
          </p:cNvPr>
          <p:cNvSpPr txBox="1">
            <a:spLocks/>
          </p:cNvSpPr>
          <p:nvPr/>
        </p:nvSpPr>
        <p:spPr bwMode="auto">
          <a:xfrm>
            <a:off x="3066444" y="4740237"/>
            <a:ext cx="5910307" cy="1915031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defTabSz="914400"/>
            <a:r>
              <a:rPr lang="cs-CZ" sz="1400" kern="0" dirty="0"/>
              <a:t>Peptidy</a:t>
            </a:r>
            <a:endParaRPr lang="en-GB" sz="1400" kern="0" dirty="0"/>
          </a:p>
          <a:p>
            <a:pPr defTabSz="914400">
              <a:buFont typeface="Arial" panose="020B0604020202020204" pitchFamily="34" charset="0"/>
              <a:buChar char="•"/>
            </a:pPr>
            <a:r>
              <a:rPr lang="cs-CZ" sz="1200" kern="0" dirty="0"/>
              <a:t>Krátké řetězce aminokyselin </a:t>
            </a:r>
            <a:r>
              <a:rPr lang="en-GB" sz="1200" kern="0" dirty="0"/>
              <a:t>(2 = </a:t>
            </a:r>
            <a:r>
              <a:rPr lang="en-GB" sz="1200" kern="0" dirty="0" err="1"/>
              <a:t>dipeptid</a:t>
            </a:r>
            <a:r>
              <a:rPr lang="cs-CZ" sz="1200" kern="0" dirty="0"/>
              <a:t>y</a:t>
            </a:r>
            <a:r>
              <a:rPr lang="en-GB" sz="1200" kern="0" dirty="0"/>
              <a:t>, 3 = </a:t>
            </a:r>
            <a:r>
              <a:rPr lang="en-GB" sz="1200" kern="0" dirty="0" err="1"/>
              <a:t>tripeptid</a:t>
            </a:r>
            <a:r>
              <a:rPr lang="cs-CZ" sz="1200" kern="0" dirty="0"/>
              <a:t>y</a:t>
            </a:r>
            <a:r>
              <a:rPr lang="en-GB" sz="1200" kern="0" dirty="0"/>
              <a:t>, </a:t>
            </a:r>
            <a:r>
              <a:rPr lang="cs-CZ" sz="1200" kern="0" dirty="0"/>
              <a:t>apod.</a:t>
            </a:r>
            <a:r>
              <a:rPr lang="en-GB" sz="1200" kern="0" dirty="0"/>
              <a:t>)</a:t>
            </a:r>
          </a:p>
          <a:p>
            <a:pPr defTabSz="914400">
              <a:buFont typeface="Arial" panose="020B0604020202020204" pitchFamily="34" charset="0"/>
              <a:buChar char="•"/>
            </a:pPr>
            <a:r>
              <a:rPr lang="cs-CZ" sz="1200" kern="0" dirty="0"/>
              <a:t>Zvolená hranice</a:t>
            </a:r>
            <a:r>
              <a:rPr lang="en-GB" sz="1200" kern="0" dirty="0"/>
              <a:t>: &lt; 50 </a:t>
            </a:r>
            <a:r>
              <a:rPr lang="cs-CZ" sz="1200" kern="0" dirty="0"/>
              <a:t>aminokyselin </a:t>
            </a:r>
            <a:r>
              <a:rPr lang="en-GB" sz="1200" kern="0" dirty="0"/>
              <a:t>= </a:t>
            </a:r>
            <a:r>
              <a:rPr lang="en-GB" sz="1200" kern="0" dirty="0" err="1"/>
              <a:t>peptid</a:t>
            </a:r>
            <a:r>
              <a:rPr lang="en-GB" sz="1200" kern="0" dirty="0"/>
              <a:t>, &gt; 50 </a:t>
            </a:r>
            <a:r>
              <a:rPr lang="cs-CZ" sz="1200" kern="0" dirty="0"/>
              <a:t>aminokyselin </a:t>
            </a:r>
            <a:r>
              <a:rPr lang="en-GB" sz="1200" kern="0" dirty="0"/>
              <a:t>= </a:t>
            </a:r>
            <a:r>
              <a:rPr lang="cs-CZ" sz="1200" kern="0" dirty="0"/>
              <a:t>bílkovina</a:t>
            </a:r>
            <a:endParaRPr lang="en-GB" sz="1200" kern="0" dirty="0"/>
          </a:p>
          <a:p>
            <a:pPr defTabSz="914400">
              <a:buFont typeface="Arial" panose="020B0604020202020204" pitchFamily="34" charset="0"/>
              <a:buChar char="•"/>
            </a:pPr>
            <a:endParaRPr lang="en-GB" sz="1200" kern="0" dirty="0"/>
          </a:p>
          <a:p>
            <a:pPr marL="0" indent="0" defTabSz="914400"/>
            <a:r>
              <a:rPr lang="cs-CZ" sz="1400" kern="0" dirty="0"/>
              <a:t>Bílkoviny</a:t>
            </a:r>
            <a:endParaRPr lang="en-GB" sz="1400" kern="0" dirty="0"/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cs-CZ" sz="1200" kern="0" dirty="0"/>
              <a:t>Velká variabilita ve velikosti</a:t>
            </a:r>
            <a:r>
              <a:rPr lang="en-GB" sz="1200" kern="0" dirty="0"/>
              <a:t> (</a:t>
            </a:r>
            <a:r>
              <a:rPr lang="cs-CZ" sz="1200" kern="0" dirty="0"/>
              <a:t>až desítky tisíc aminokyselin</a:t>
            </a:r>
            <a:r>
              <a:rPr lang="en-GB" sz="1200" kern="0" dirty="0"/>
              <a:t>) </a:t>
            </a:r>
            <a:r>
              <a:rPr lang="cs-CZ" sz="1200" kern="0" dirty="0"/>
              <a:t>a struktuře</a:t>
            </a:r>
            <a:r>
              <a:rPr lang="en-GB" sz="1200" kern="0" dirty="0"/>
              <a:t>, </a:t>
            </a:r>
            <a:r>
              <a:rPr lang="cs-CZ" sz="1200" kern="0" dirty="0"/>
              <a:t>konvenční klasifikace rozlišuje primární strukturu</a:t>
            </a:r>
            <a:r>
              <a:rPr lang="en-GB" sz="1200" kern="0" dirty="0"/>
              <a:t> (</a:t>
            </a:r>
            <a:r>
              <a:rPr lang="cs-CZ" sz="1200" kern="0" dirty="0"/>
              <a:t>sekvence aminokyselin</a:t>
            </a:r>
            <a:r>
              <a:rPr lang="en-GB" sz="1200" kern="0" dirty="0"/>
              <a:t>), </a:t>
            </a:r>
            <a:r>
              <a:rPr lang="cs-CZ" sz="1200" kern="0" dirty="0"/>
              <a:t>sekundární strukturu </a:t>
            </a:r>
            <a:r>
              <a:rPr lang="en-GB" sz="1200" kern="0" dirty="0"/>
              <a:t>(</a:t>
            </a:r>
            <a:r>
              <a:rPr lang="cs-CZ" sz="1200" kern="0" dirty="0"/>
              <a:t>lokální struktury zahrnující vodíkové vazby</a:t>
            </a:r>
            <a:r>
              <a:rPr lang="en-GB" sz="1200" kern="0" dirty="0"/>
              <a:t>) </a:t>
            </a:r>
            <a:r>
              <a:rPr lang="cs-CZ" sz="1200" kern="0" dirty="0"/>
              <a:t>a terciární strukturu </a:t>
            </a:r>
            <a:r>
              <a:rPr lang="en-GB" sz="1200" kern="0" dirty="0"/>
              <a:t>(</a:t>
            </a:r>
            <a:r>
              <a:rPr lang="cs-CZ" sz="1200" kern="0" dirty="0"/>
              <a:t>komplexní složené struktury</a:t>
            </a:r>
            <a:r>
              <a:rPr lang="en-GB" sz="1200" kern="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3559752-9D32-4EAD-9D6F-4BB238F88275}"/>
              </a:ext>
            </a:extLst>
          </p:cNvPr>
          <p:cNvSpPr txBox="1"/>
          <p:nvPr/>
        </p:nvSpPr>
        <p:spPr>
          <a:xfrm>
            <a:off x="7872498" y="6604084"/>
            <a:ext cx="127150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50" dirty="0"/>
              <a:t>Figures: Wikipedia</a:t>
            </a:r>
          </a:p>
        </p:txBody>
      </p:sp>
    </p:spTree>
    <p:extLst>
      <p:ext uri="{BB962C8B-B14F-4D97-AF65-F5344CB8AC3E}">
        <p14:creationId xmlns:p14="http://schemas.microsoft.com/office/powerpoint/2010/main" val="3157581093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Mdic_gi0qXwcXTagJcS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Mdic_gi0qXwcXTagJc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olac Corporate Swish">
  <a:themeElements>
    <a:clrScheme name="Volac">
      <a:dk1>
        <a:srgbClr val="655C59"/>
      </a:dk1>
      <a:lt1>
        <a:sysClr val="window" lastClr="FFFFFF"/>
      </a:lt1>
      <a:dk2>
        <a:srgbClr val="88B05A"/>
      </a:dk2>
      <a:lt2>
        <a:srgbClr val="FFFFFF"/>
      </a:lt2>
      <a:accent1>
        <a:srgbClr val="88B05A"/>
      </a:accent1>
      <a:accent2>
        <a:srgbClr val="CDD315"/>
      </a:accent2>
      <a:accent3>
        <a:srgbClr val="999E0F"/>
      </a:accent3>
      <a:accent4>
        <a:srgbClr val="668640"/>
      </a:accent4>
      <a:accent5>
        <a:srgbClr val="44592B"/>
      </a:accent5>
      <a:accent6>
        <a:srgbClr val="655C59"/>
      </a:accent6>
      <a:hlink>
        <a:srgbClr val="0000FF"/>
      </a:hlink>
      <a:folHlink>
        <a:srgbClr val="800080"/>
      </a:folHlink>
    </a:clrScheme>
    <a:fontScheme name="Volac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rtlCol="0" anchor="ctr"/>
      <a:lstStyle>
        <a:defPPr algn="ctr">
          <a:defRPr/>
        </a:defPPr>
      </a:lstStyle>
      <a:style>
        <a:lnRef idx="0">
          <a:schemeClr val="accent3"/>
        </a:lnRef>
        <a:fillRef idx="3">
          <a:schemeClr val="accent3"/>
        </a:fillRef>
        <a:effectRef idx="3">
          <a:schemeClr val="accent3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4_Default Design">
  <a:themeElements>
    <a:clrScheme name="4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Default Design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Default Design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1" u="none" strike="noStrike" cap="none" normalizeH="0" baseline="0" smtClean="0">
            <a:ln>
              <a:noFill/>
            </a:ln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1" u="none" strike="noStrike" cap="none" normalizeH="0" baseline="0" smtClean="0">
            <a:ln>
              <a:noFill/>
            </a:ln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pitchFamily="34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6_Default Design">
  <a:themeElements>
    <a:clrScheme name="4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Default Design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4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Default Design 1">
    <a:dk1>
      <a:srgbClr val="000000"/>
    </a:dk1>
    <a:lt1>
      <a:srgbClr val="FFFFFF"/>
    </a:lt1>
    <a:dk2>
      <a:srgbClr val="000000"/>
    </a:dk2>
    <a:lt2>
      <a:srgbClr val="808080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  <a:fontScheme name="Default Design">
    <a:majorFont>
      <a:latin typeface="Times New Roman"/>
      <a:ea typeface=""/>
      <a:cs typeface=""/>
    </a:majorFont>
    <a:minorFont>
      <a:latin typeface="Times New Roman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4_Default Design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  <a:fontScheme name="4_Default Design">
    <a:majorFont>
      <a:latin typeface="Tahoma"/>
      <a:ea typeface=""/>
      <a:cs typeface=""/>
    </a:majorFont>
    <a:minorFont>
      <a:latin typeface="Tahoma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615</TotalTime>
  <Words>2649</Words>
  <Application>Microsoft Office PowerPoint</Application>
  <PresentationFormat>Předvádění na obrazovce (4:3)</PresentationFormat>
  <Paragraphs>415</Paragraphs>
  <Slides>45</Slides>
  <Notes>8</Notes>
  <HiddenSlides>0</HiddenSlides>
  <MMClips>0</MMClips>
  <ScaleCrop>false</ScaleCrop>
  <HeadingPairs>
    <vt:vector size="8" baseType="variant">
      <vt:variant>
        <vt:lpstr>Použitá písma</vt:lpstr>
      </vt:variant>
      <vt:variant>
        <vt:i4>8</vt:i4>
      </vt:variant>
      <vt:variant>
        <vt:lpstr>Motiv</vt:lpstr>
      </vt:variant>
      <vt:variant>
        <vt:i4>4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45</vt:i4>
      </vt:variant>
    </vt:vector>
  </HeadingPairs>
  <TitlesOfParts>
    <vt:vector size="58" baseType="lpstr">
      <vt:lpstr>Arial</vt:lpstr>
      <vt:lpstr>Calibri</vt:lpstr>
      <vt:lpstr>Cambria</vt:lpstr>
      <vt:lpstr>Tahoma</vt:lpstr>
      <vt:lpstr>Times</vt:lpstr>
      <vt:lpstr>Times New Roman</vt:lpstr>
      <vt:lpstr>Verdana</vt:lpstr>
      <vt:lpstr>Wingdings</vt:lpstr>
      <vt:lpstr>Volac Corporate Swish</vt:lpstr>
      <vt:lpstr>4_Default Design</vt:lpstr>
      <vt:lpstr>3_Default Design</vt:lpstr>
      <vt:lpstr>6_Default Design</vt:lpstr>
      <vt:lpstr>think-cell Slide</vt:lpstr>
      <vt:lpstr>Hlubší pohled na nutriční hodnotu mléčných náhražek pro telata  John Newbold Volac International Ltd. 31. ledna 2019 </vt:lpstr>
      <vt:lpstr>Celoživotní užitkovost dojnice</vt:lpstr>
      <vt:lpstr>Význam rychlosti růstu</vt:lpstr>
      <vt:lpstr>Produkce mléka na první laktaci x průměrný denní přírůstek od narození do zapuštění</vt:lpstr>
      <vt:lpstr>Detailnější pohled na nutriční hodnotu mléčných náhražek pro telata</vt:lpstr>
      <vt:lpstr>Etiketa</vt:lpstr>
      <vt:lpstr>Učebnice</vt:lpstr>
      <vt:lpstr>Hlubší pohled…</vt:lpstr>
      <vt:lpstr>Bílkoviny</vt:lpstr>
      <vt:lpstr>Stravitelné aminokyseliny</vt:lpstr>
      <vt:lpstr>Aminokyseliny: LYS a MET</vt:lpstr>
      <vt:lpstr>Další aminokyseliny</vt:lpstr>
      <vt:lpstr>Stravitelné aminokyseliny</vt:lpstr>
      <vt:lpstr>Stravitelnost mléčné bílkoviny: vliv tepla</vt:lpstr>
      <vt:lpstr>Blokovaný lysin ve vybraných mléčných náhražkách</vt:lpstr>
      <vt:lpstr>Stravitelnost rostlinných bílkoviny</vt:lpstr>
      <vt:lpstr>Aminokyseliny: signály a substráty</vt:lpstr>
      <vt:lpstr>Syrovátka a svaly: příklady u člověka</vt:lpstr>
      <vt:lpstr>Doplněk leucinu u hospodářských zvířat</vt:lpstr>
      <vt:lpstr>Více leucinu v syrovátkovém proteinu než v proteinu sušeného odstředěného mléka</vt:lpstr>
      <vt:lpstr>Hlubší pohled…</vt:lpstr>
      <vt:lpstr>Mléčná bílkovina</vt:lpstr>
      <vt:lpstr>Funkční proteiny</vt:lpstr>
      <vt:lpstr>Nissen et al. (2017)</vt:lpstr>
      <vt:lpstr>Přes 200 proteinů bylo identifikováno  v přípravku Imunopro*</vt:lpstr>
      <vt:lpstr>Laktoferin</vt:lpstr>
      <vt:lpstr>Laktoferin: v mlezivu a přechodném mléce</vt:lpstr>
      <vt:lpstr>Zdravotní odezva na doplněk laktoferinu</vt:lpstr>
      <vt:lpstr>Hlubší pohled…</vt:lpstr>
      <vt:lpstr>Mléčná náhražka pro telata s vysokým obsahem tuku omezuje příjem a trávení startérové krmné směsi</vt:lpstr>
      <vt:lpstr>Tuk a chladné počasí</vt:lpstr>
      <vt:lpstr>Profil mastných kyselin v mléce: souhrn</vt:lpstr>
      <vt:lpstr>C4:0 (kyselina máselná)</vt:lpstr>
      <vt:lpstr>C4:0 (z přidaného butyrátu sodného)</vt:lpstr>
      <vt:lpstr>Mastné kyseliny se středním řetězcem (MCFA)</vt:lpstr>
      <vt:lpstr>Optimální vyvážení mastných kyselin</vt:lpstr>
      <vt:lpstr>Lipidomika mléka</vt:lpstr>
      <vt:lpstr>Příklad: antibakteriální sfingolipidy</vt:lpstr>
      <vt:lpstr>Hlubší pohled…</vt:lpstr>
      <vt:lpstr>Mléčné oligosacharidy</vt:lpstr>
      <vt:lpstr>Volné a vázané oligosacharidy</vt:lpstr>
      <vt:lpstr>Mléčné oligosacharidy: funkce</vt:lpstr>
      <vt:lpstr>Faecalibacterium prausnitzii a průjmy u telat</vt:lpstr>
      <vt:lpstr>Mléčné náhražky Volac a mikrobiom</vt:lpstr>
      <vt:lpstr>Hlubší pohled…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 deeper look at the nutritional value of calf milk replacers  John Newbold Volac International Ltd. 31 Jan 19</dc:title>
  <dc:creator>John Newbold</dc:creator>
  <cp:lastModifiedBy>Dana Kumprechtová</cp:lastModifiedBy>
  <cp:revision>61</cp:revision>
  <dcterms:created xsi:type="dcterms:W3CDTF">2019-01-27T11:56:31Z</dcterms:created>
  <dcterms:modified xsi:type="dcterms:W3CDTF">2019-02-17T15:56:06Z</dcterms:modified>
</cp:coreProperties>
</file>